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6"/>
  </p:notesMasterIdLst>
  <p:sldIdLst>
    <p:sldId id="258" r:id="rId2"/>
    <p:sldId id="261" r:id="rId3"/>
    <p:sldId id="270" r:id="rId4"/>
    <p:sldId id="286" r:id="rId5"/>
    <p:sldId id="265" r:id="rId6"/>
    <p:sldId id="289" r:id="rId7"/>
    <p:sldId id="306" r:id="rId8"/>
    <p:sldId id="298" r:id="rId9"/>
    <p:sldId id="300" r:id="rId10"/>
    <p:sldId id="301" r:id="rId11"/>
    <p:sldId id="303" r:id="rId12"/>
    <p:sldId id="294" r:id="rId13"/>
    <p:sldId id="283" r:id="rId14"/>
    <p:sldId id="299" r:id="rId15"/>
  </p:sldIdLst>
  <p:sldSz cx="12192000" cy="6858000"/>
  <p:notesSz cx="6858000" cy="9144000"/>
  <p:custDataLst>
    <p:tags r:id="rId1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72384B4-68EF-4D23-AAEB-83D25B7600E5}" v="318" dt="2023-10-11T08:02:07.35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472" autoAdjust="0"/>
    <p:restoredTop sz="94660"/>
  </p:normalViewPr>
  <p:slideViewPr>
    <p:cSldViewPr snapToGrid="0">
      <p:cViewPr varScale="1">
        <p:scale>
          <a:sx n="114" d="100"/>
          <a:sy n="114" d="100"/>
        </p:scale>
        <p:origin x="504" y="12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microsoft.com/office/2015/10/relationships/revisionInfo" Target="revisionInfo.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reelesh Sreenivasan" userId="6ce93406-93cc-4d05-8cef-b5419bd8c87f" providerId="ADAL" clId="{E72384B4-68EF-4D23-AAEB-83D25B7600E5}"/>
    <pc:docChg chg="undo custSel addSld delSld modSld modMainMaster replTag">
      <pc:chgData name="Sreelesh Sreenivasan" userId="6ce93406-93cc-4d05-8cef-b5419bd8c87f" providerId="ADAL" clId="{E72384B4-68EF-4D23-AAEB-83D25B7600E5}" dt="2023-10-11T08:02:10.840" v="1433" actId="478"/>
      <pc:docMkLst>
        <pc:docMk/>
      </pc:docMkLst>
      <pc:sldChg chg="addSp delSp modSp mod">
        <pc:chgData name="Sreelesh Sreenivasan" userId="6ce93406-93cc-4d05-8cef-b5419bd8c87f" providerId="ADAL" clId="{E72384B4-68EF-4D23-AAEB-83D25B7600E5}" dt="2023-10-11T03:16:41.272" v="202"/>
        <pc:sldMkLst>
          <pc:docMk/>
          <pc:sldMk cId="2324576048" sldId="258"/>
        </pc:sldMkLst>
        <pc:spChg chg="mod">
          <ac:chgData name="Sreelesh Sreenivasan" userId="6ce93406-93cc-4d05-8cef-b5419bd8c87f" providerId="ADAL" clId="{E72384B4-68EF-4D23-AAEB-83D25B7600E5}" dt="2023-10-11T03:16:41.219" v="159" actId="948"/>
          <ac:spMkLst>
            <pc:docMk/>
            <pc:sldMk cId="2324576048" sldId="258"/>
            <ac:spMk id="2" creationId="{00000000-0000-0000-0000-000000000000}"/>
          </ac:spMkLst>
        </pc:spChg>
        <pc:spChg chg="add del mod modVis">
          <ac:chgData name="Sreelesh Sreenivasan" userId="6ce93406-93cc-4d05-8cef-b5419bd8c87f" providerId="ADAL" clId="{E72384B4-68EF-4D23-AAEB-83D25B7600E5}" dt="2023-10-11T03:16:38.359" v="142"/>
          <ac:spMkLst>
            <pc:docMk/>
            <pc:sldMk cId="2324576048" sldId="258"/>
            <ac:spMk id="4" creationId="{FFDE42D5-32D3-A751-8727-5366F87125F7}"/>
          </ac:spMkLst>
        </pc:spChg>
        <pc:spChg chg="add del mod modVis">
          <ac:chgData name="Sreelesh Sreenivasan" userId="6ce93406-93cc-4d05-8cef-b5419bd8c87f" providerId="ADAL" clId="{E72384B4-68EF-4D23-AAEB-83D25B7600E5}" dt="2023-10-11T03:16:41.270" v="200"/>
          <ac:spMkLst>
            <pc:docMk/>
            <pc:sldMk cId="2324576048" sldId="258"/>
            <ac:spMk id="5" creationId="{D56973C3-D5F9-63A1-5F1F-14E2EAC618EB}"/>
          </ac:spMkLst>
        </pc:spChg>
        <pc:graphicFrameChg chg="add mod ord modVis replST">
          <ac:chgData name="Sreelesh Sreenivasan" userId="6ce93406-93cc-4d05-8cef-b5419bd8c87f" providerId="ADAL" clId="{E72384B4-68EF-4D23-AAEB-83D25B7600E5}" dt="2023-10-11T03:16:41.272" v="202"/>
          <ac:graphicFrameMkLst>
            <pc:docMk/>
            <pc:sldMk cId="2324576048" sldId="258"/>
            <ac:graphicFrameMk id="3" creationId="{8F9B26AA-F978-A721-DE6C-B9A24C634695}"/>
          </ac:graphicFrameMkLst>
        </pc:graphicFrameChg>
      </pc:sldChg>
      <pc:sldChg chg="modSp">
        <pc:chgData name="Sreelesh Sreenivasan" userId="6ce93406-93cc-4d05-8cef-b5419bd8c87f" providerId="ADAL" clId="{E72384B4-68EF-4D23-AAEB-83D25B7600E5}" dt="2023-10-11T03:55:18.256" v="608" actId="313"/>
        <pc:sldMkLst>
          <pc:docMk/>
          <pc:sldMk cId="70318645" sldId="261"/>
        </pc:sldMkLst>
        <pc:graphicFrameChg chg="mod">
          <ac:chgData name="Sreelesh Sreenivasan" userId="6ce93406-93cc-4d05-8cef-b5419bd8c87f" providerId="ADAL" clId="{E72384B4-68EF-4D23-AAEB-83D25B7600E5}" dt="2023-10-11T03:55:18.256" v="608" actId="313"/>
          <ac:graphicFrameMkLst>
            <pc:docMk/>
            <pc:sldMk cId="70318645" sldId="261"/>
            <ac:graphicFrameMk id="4" creationId="{9CB74668-1FC9-45F8-8697-6ACC879B88A6}"/>
          </ac:graphicFrameMkLst>
        </pc:graphicFrameChg>
      </pc:sldChg>
      <pc:sldChg chg="modSp mod">
        <pc:chgData name="Sreelesh Sreenivasan" userId="6ce93406-93cc-4d05-8cef-b5419bd8c87f" providerId="ADAL" clId="{E72384B4-68EF-4D23-AAEB-83D25B7600E5}" dt="2023-10-11T03:27:08.765" v="266"/>
        <pc:sldMkLst>
          <pc:docMk/>
          <pc:sldMk cId="1318685440" sldId="265"/>
        </pc:sldMkLst>
        <pc:spChg chg="mod">
          <ac:chgData name="Sreelesh Sreenivasan" userId="6ce93406-93cc-4d05-8cef-b5419bd8c87f" providerId="ADAL" clId="{E72384B4-68EF-4D23-AAEB-83D25B7600E5}" dt="2023-10-11T03:26:55.644" v="264"/>
          <ac:spMkLst>
            <pc:docMk/>
            <pc:sldMk cId="1318685440" sldId="265"/>
            <ac:spMk id="127" creationId="{00000000-0000-0000-0000-000000000000}"/>
          </ac:spMkLst>
        </pc:spChg>
        <pc:spChg chg="mod">
          <ac:chgData name="Sreelesh Sreenivasan" userId="6ce93406-93cc-4d05-8cef-b5419bd8c87f" providerId="ADAL" clId="{E72384B4-68EF-4D23-AAEB-83D25B7600E5}" dt="2023-10-11T03:27:08.765" v="266"/>
          <ac:spMkLst>
            <pc:docMk/>
            <pc:sldMk cId="1318685440" sldId="265"/>
            <ac:spMk id="128" creationId="{00000000-0000-0000-0000-000000000000}"/>
          </ac:spMkLst>
        </pc:spChg>
        <pc:spChg chg="mod">
          <ac:chgData name="Sreelesh Sreenivasan" userId="6ce93406-93cc-4d05-8cef-b5419bd8c87f" providerId="ADAL" clId="{E72384B4-68EF-4D23-AAEB-83D25B7600E5}" dt="2023-10-11T03:26:49.668" v="263"/>
          <ac:spMkLst>
            <pc:docMk/>
            <pc:sldMk cId="1318685440" sldId="265"/>
            <ac:spMk id="131" creationId="{00000000-0000-0000-0000-000000000000}"/>
          </ac:spMkLst>
        </pc:spChg>
        <pc:spChg chg="mod">
          <ac:chgData name="Sreelesh Sreenivasan" userId="6ce93406-93cc-4d05-8cef-b5419bd8c87f" providerId="ADAL" clId="{E72384B4-68EF-4D23-AAEB-83D25B7600E5}" dt="2023-10-11T03:27:02.136" v="265"/>
          <ac:spMkLst>
            <pc:docMk/>
            <pc:sldMk cId="1318685440" sldId="265"/>
            <ac:spMk id="132" creationId="{00000000-0000-0000-0000-000000000000}"/>
          </ac:spMkLst>
        </pc:spChg>
      </pc:sldChg>
      <pc:sldChg chg="addSp delSp modSp mod">
        <pc:chgData name="Sreelesh Sreenivasan" userId="6ce93406-93cc-4d05-8cef-b5419bd8c87f" providerId="ADAL" clId="{E72384B4-68EF-4D23-AAEB-83D25B7600E5}" dt="2023-10-11T03:27:53.717" v="267" actId="2711"/>
        <pc:sldMkLst>
          <pc:docMk/>
          <pc:sldMk cId="2078004244" sldId="270"/>
        </pc:sldMkLst>
        <pc:spChg chg="add mod">
          <ac:chgData name="Sreelesh Sreenivasan" userId="6ce93406-93cc-4d05-8cef-b5419bd8c87f" providerId="ADAL" clId="{E72384B4-68EF-4D23-AAEB-83D25B7600E5}" dt="2023-10-11T03:27:53.717" v="267" actId="2711"/>
          <ac:spMkLst>
            <pc:docMk/>
            <pc:sldMk cId="2078004244" sldId="270"/>
            <ac:spMk id="2" creationId="{C3183E1D-2879-8FD2-8A1D-3969EEEFB696}"/>
          </ac:spMkLst>
        </pc:spChg>
        <pc:spChg chg="mod">
          <ac:chgData name="Sreelesh Sreenivasan" userId="6ce93406-93cc-4d05-8cef-b5419bd8c87f" providerId="ADAL" clId="{E72384B4-68EF-4D23-AAEB-83D25B7600E5}" dt="2023-10-11T03:20:23.771" v="216" actId="1076"/>
          <ac:spMkLst>
            <pc:docMk/>
            <pc:sldMk cId="2078004244" sldId="270"/>
            <ac:spMk id="4" creationId="{00000000-0000-0000-0000-000000000000}"/>
          </ac:spMkLst>
        </pc:spChg>
        <pc:spChg chg="mod">
          <ac:chgData name="Sreelesh Sreenivasan" userId="6ce93406-93cc-4d05-8cef-b5419bd8c87f" providerId="ADAL" clId="{E72384B4-68EF-4D23-AAEB-83D25B7600E5}" dt="2023-10-11T03:21:54.325" v="250" actId="1076"/>
          <ac:spMkLst>
            <pc:docMk/>
            <pc:sldMk cId="2078004244" sldId="270"/>
            <ac:spMk id="12" creationId="{65582260-304B-40DD-A9B2-F21082011B3B}"/>
          </ac:spMkLst>
        </pc:spChg>
        <pc:picChg chg="del">
          <ac:chgData name="Sreelesh Sreenivasan" userId="6ce93406-93cc-4d05-8cef-b5419bd8c87f" providerId="ADAL" clId="{E72384B4-68EF-4D23-AAEB-83D25B7600E5}" dt="2023-10-11T03:20:07.528" v="213" actId="478"/>
          <ac:picMkLst>
            <pc:docMk/>
            <pc:sldMk cId="2078004244" sldId="270"/>
            <ac:picMk id="9" creationId="{33BD92FB-8B7B-4735-B17B-6F020D5B69C9}"/>
          </ac:picMkLst>
        </pc:picChg>
      </pc:sldChg>
      <pc:sldChg chg="delSp del mod">
        <pc:chgData name="Sreelesh Sreenivasan" userId="6ce93406-93cc-4d05-8cef-b5419bd8c87f" providerId="ADAL" clId="{E72384B4-68EF-4D23-AAEB-83D25B7600E5}" dt="2023-10-11T08:02:08.760" v="1432" actId="47"/>
        <pc:sldMkLst>
          <pc:docMk/>
          <pc:sldMk cId="3923002216" sldId="271"/>
        </pc:sldMkLst>
        <pc:picChg chg="del">
          <ac:chgData name="Sreelesh Sreenivasan" userId="6ce93406-93cc-4d05-8cef-b5419bd8c87f" providerId="ADAL" clId="{E72384B4-68EF-4D23-AAEB-83D25B7600E5}" dt="2023-10-11T03:18:08.615" v="206" actId="478"/>
          <ac:picMkLst>
            <pc:docMk/>
            <pc:sldMk cId="3923002216" sldId="271"/>
            <ac:picMk id="5" creationId="{9E9B270E-7697-474E-81DF-C91F640424A8}"/>
          </ac:picMkLst>
        </pc:picChg>
        <pc:picChg chg="del">
          <ac:chgData name="Sreelesh Sreenivasan" userId="6ce93406-93cc-4d05-8cef-b5419bd8c87f" providerId="ADAL" clId="{E72384B4-68EF-4D23-AAEB-83D25B7600E5}" dt="2023-10-11T03:18:09.112" v="207" actId="478"/>
          <ac:picMkLst>
            <pc:docMk/>
            <pc:sldMk cId="3923002216" sldId="271"/>
            <ac:picMk id="7" creationId="{7ACA79BA-F4C9-47C6-8F9F-370ED25ECA80}"/>
          </ac:picMkLst>
        </pc:picChg>
        <pc:picChg chg="del">
          <ac:chgData name="Sreelesh Sreenivasan" userId="6ce93406-93cc-4d05-8cef-b5419bd8c87f" providerId="ADAL" clId="{E72384B4-68EF-4D23-AAEB-83D25B7600E5}" dt="2023-10-11T03:18:09.648" v="208" actId="478"/>
          <ac:picMkLst>
            <pc:docMk/>
            <pc:sldMk cId="3923002216" sldId="271"/>
            <ac:picMk id="11" creationId="{AC4BF08F-6F35-4444-95A0-7A8FE1BCD816}"/>
          </ac:picMkLst>
        </pc:picChg>
      </pc:sldChg>
      <pc:sldChg chg="delSp del mod">
        <pc:chgData name="Sreelesh Sreenivasan" userId="6ce93406-93cc-4d05-8cef-b5419bd8c87f" providerId="ADAL" clId="{E72384B4-68EF-4D23-AAEB-83D25B7600E5}" dt="2023-10-11T03:37:13.772" v="568" actId="47"/>
        <pc:sldMkLst>
          <pc:docMk/>
          <pc:sldMk cId="230300832" sldId="272"/>
        </pc:sldMkLst>
        <pc:picChg chg="del">
          <ac:chgData name="Sreelesh Sreenivasan" userId="6ce93406-93cc-4d05-8cef-b5419bd8c87f" providerId="ADAL" clId="{E72384B4-68EF-4D23-AAEB-83D25B7600E5}" dt="2023-10-11T03:18:12.519" v="210" actId="478"/>
          <ac:picMkLst>
            <pc:docMk/>
            <pc:sldMk cId="230300832" sldId="272"/>
            <ac:picMk id="5" creationId="{76A3922E-2C91-4852-BF81-A93025B4AE74}"/>
          </ac:picMkLst>
        </pc:picChg>
        <pc:picChg chg="del">
          <ac:chgData name="Sreelesh Sreenivasan" userId="6ce93406-93cc-4d05-8cef-b5419bd8c87f" providerId="ADAL" clId="{E72384B4-68EF-4D23-AAEB-83D25B7600E5}" dt="2023-10-11T03:18:13.127" v="211" actId="478"/>
          <ac:picMkLst>
            <pc:docMk/>
            <pc:sldMk cId="230300832" sldId="272"/>
            <ac:picMk id="7" creationId="{9EA6F3C3-E0EA-4D09-B16C-9BA3B325D819}"/>
          </ac:picMkLst>
        </pc:picChg>
        <pc:picChg chg="del">
          <ac:chgData name="Sreelesh Sreenivasan" userId="6ce93406-93cc-4d05-8cef-b5419bd8c87f" providerId="ADAL" clId="{E72384B4-68EF-4D23-AAEB-83D25B7600E5}" dt="2023-10-11T03:18:11.863" v="209" actId="478"/>
          <ac:picMkLst>
            <pc:docMk/>
            <pc:sldMk cId="230300832" sldId="272"/>
            <ac:picMk id="10" creationId="{772041DE-E592-4C9B-8FA7-4D8996E4ACC9}"/>
          </ac:picMkLst>
        </pc:picChg>
      </pc:sldChg>
      <pc:sldChg chg="delSp del mod">
        <pc:chgData name="Sreelesh Sreenivasan" userId="6ce93406-93cc-4d05-8cef-b5419bd8c87f" providerId="ADAL" clId="{E72384B4-68EF-4D23-AAEB-83D25B7600E5}" dt="2023-10-11T03:37:14.665" v="569" actId="47"/>
        <pc:sldMkLst>
          <pc:docMk/>
          <pc:sldMk cId="1836854372" sldId="275"/>
        </pc:sldMkLst>
        <pc:picChg chg="del">
          <ac:chgData name="Sreelesh Sreenivasan" userId="6ce93406-93cc-4d05-8cef-b5419bd8c87f" providerId="ADAL" clId="{E72384B4-68EF-4D23-AAEB-83D25B7600E5}" dt="2023-10-11T03:18:19.177" v="212" actId="478"/>
          <ac:picMkLst>
            <pc:docMk/>
            <pc:sldMk cId="1836854372" sldId="275"/>
            <ac:picMk id="4" creationId="{F43797B5-B40B-4A96-A8D7-68BE81243C58}"/>
          </ac:picMkLst>
        </pc:picChg>
      </pc:sldChg>
      <pc:sldChg chg="delSp mod">
        <pc:chgData name="Sreelesh Sreenivasan" userId="6ce93406-93cc-4d05-8cef-b5419bd8c87f" providerId="ADAL" clId="{E72384B4-68EF-4D23-AAEB-83D25B7600E5}" dt="2023-10-11T08:02:10.840" v="1433" actId="478"/>
        <pc:sldMkLst>
          <pc:docMk/>
          <pc:sldMk cId="4102106152" sldId="283"/>
        </pc:sldMkLst>
        <pc:spChg chg="del">
          <ac:chgData name="Sreelesh Sreenivasan" userId="6ce93406-93cc-4d05-8cef-b5419bd8c87f" providerId="ADAL" clId="{E72384B4-68EF-4D23-AAEB-83D25B7600E5}" dt="2023-10-11T08:02:10.840" v="1433" actId="478"/>
          <ac:spMkLst>
            <pc:docMk/>
            <pc:sldMk cId="4102106152" sldId="283"/>
            <ac:spMk id="4" creationId="{002CE497-E90C-4ED6-89E9-5A03D472A4E9}"/>
          </ac:spMkLst>
        </pc:spChg>
      </pc:sldChg>
      <pc:sldChg chg="modSp mod">
        <pc:chgData name="Sreelesh Sreenivasan" userId="6ce93406-93cc-4d05-8cef-b5419bd8c87f" providerId="ADAL" clId="{E72384B4-68EF-4D23-AAEB-83D25B7600E5}" dt="2023-10-11T03:24:40.383" v="257"/>
        <pc:sldMkLst>
          <pc:docMk/>
          <pc:sldMk cId="1244829359" sldId="286"/>
        </pc:sldMkLst>
        <pc:spChg chg="mod">
          <ac:chgData name="Sreelesh Sreenivasan" userId="6ce93406-93cc-4d05-8cef-b5419bd8c87f" providerId="ADAL" clId="{E72384B4-68EF-4D23-AAEB-83D25B7600E5}" dt="2023-10-11T03:23:18.488" v="251"/>
          <ac:spMkLst>
            <pc:docMk/>
            <pc:sldMk cId="1244829359" sldId="286"/>
            <ac:spMk id="5" creationId="{00000000-0000-0000-0000-000000000000}"/>
          </ac:spMkLst>
        </pc:spChg>
        <pc:spChg chg="mod">
          <ac:chgData name="Sreelesh Sreenivasan" userId="6ce93406-93cc-4d05-8cef-b5419bd8c87f" providerId="ADAL" clId="{E72384B4-68EF-4D23-AAEB-83D25B7600E5}" dt="2023-10-11T03:24:14.536" v="256"/>
          <ac:spMkLst>
            <pc:docMk/>
            <pc:sldMk cId="1244829359" sldId="286"/>
            <ac:spMk id="19" creationId="{00000000-0000-0000-0000-000000000000}"/>
          </ac:spMkLst>
        </pc:spChg>
        <pc:spChg chg="mod">
          <ac:chgData name="Sreelesh Sreenivasan" userId="6ce93406-93cc-4d05-8cef-b5419bd8c87f" providerId="ADAL" clId="{E72384B4-68EF-4D23-AAEB-83D25B7600E5}" dt="2023-10-11T03:24:40.383" v="257"/>
          <ac:spMkLst>
            <pc:docMk/>
            <pc:sldMk cId="1244829359" sldId="286"/>
            <ac:spMk id="22" creationId="{00000000-0000-0000-0000-000000000000}"/>
          </ac:spMkLst>
        </pc:spChg>
      </pc:sldChg>
      <pc:sldChg chg="delSp modSp mod">
        <pc:chgData name="Sreelesh Sreenivasan" userId="6ce93406-93cc-4d05-8cef-b5419bd8c87f" providerId="ADAL" clId="{E72384B4-68EF-4D23-AAEB-83D25B7600E5}" dt="2023-10-11T03:31:29.541" v="389" actId="1076"/>
        <pc:sldMkLst>
          <pc:docMk/>
          <pc:sldMk cId="173337505" sldId="289"/>
        </pc:sldMkLst>
        <pc:spChg chg="mod">
          <ac:chgData name="Sreelesh Sreenivasan" userId="6ce93406-93cc-4d05-8cef-b5419bd8c87f" providerId="ADAL" clId="{E72384B4-68EF-4D23-AAEB-83D25B7600E5}" dt="2023-10-11T03:30:18.968" v="353" actId="20577"/>
          <ac:spMkLst>
            <pc:docMk/>
            <pc:sldMk cId="173337505" sldId="289"/>
            <ac:spMk id="3" creationId="{A75FE103-B5A2-4D9B-8249-831193B1FC61}"/>
          </ac:spMkLst>
        </pc:spChg>
        <pc:spChg chg="mod">
          <ac:chgData name="Sreelesh Sreenivasan" userId="6ce93406-93cc-4d05-8cef-b5419bd8c87f" providerId="ADAL" clId="{E72384B4-68EF-4D23-AAEB-83D25B7600E5}" dt="2023-10-11T03:31:07.521" v="384" actId="20577"/>
          <ac:spMkLst>
            <pc:docMk/>
            <pc:sldMk cId="173337505" sldId="289"/>
            <ac:spMk id="129" creationId="{18BB0A63-386D-4512-94C2-C6A96DD502C2}"/>
          </ac:spMkLst>
        </pc:spChg>
        <pc:spChg chg="mod">
          <ac:chgData name="Sreelesh Sreenivasan" userId="6ce93406-93cc-4d05-8cef-b5419bd8c87f" providerId="ADAL" clId="{E72384B4-68EF-4D23-AAEB-83D25B7600E5}" dt="2023-10-11T03:31:29.541" v="389" actId="1076"/>
          <ac:spMkLst>
            <pc:docMk/>
            <pc:sldMk cId="173337505" sldId="289"/>
            <ac:spMk id="130" creationId="{62F0E309-CD34-4670-A3C7-BCB9416E5844}"/>
          </ac:spMkLst>
        </pc:spChg>
        <pc:spChg chg="del">
          <ac:chgData name="Sreelesh Sreenivasan" userId="6ce93406-93cc-4d05-8cef-b5419bd8c87f" providerId="ADAL" clId="{E72384B4-68EF-4D23-AAEB-83D25B7600E5}" dt="2023-10-11T03:31:21.257" v="386" actId="478"/>
          <ac:spMkLst>
            <pc:docMk/>
            <pc:sldMk cId="173337505" sldId="289"/>
            <ac:spMk id="203" creationId="{D86D9288-41FF-4FC4-AC56-94E1D32620A7}"/>
          </ac:spMkLst>
        </pc:spChg>
        <pc:spChg chg="mod">
          <ac:chgData name="Sreelesh Sreenivasan" userId="6ce93406-93cc-4d05-8cef-b5419bd8c87f" providerId="ADAL" clId="{E72384B4-68EF-4D23-AAEB-83D25B7600E5}" dt="2023-10-11T03:30:36.455" v="359" actId="20577"/>
          <ac:spMkLst>
            <pc:docMk/>
            <pc:sldMk cId="173337505" sldId="289"/>
            <ac:spMk id="414" creationId="{00000000-0000-0000-0000-000000000000}"/>
          </ac:spMkLst>
        </pc:spChg>
        <pc:spChg chg="mod">
          <ac:chgData name="Sreelesh Sreenivasan" userId="6ce93406-93cc-4d05-8cef-b5419bd8c87f" providerId="ADAL" clId="{E72384B4-68EF-4D23-AAEB-83D25B7600E5}" dt="2023-10-11T03:30:48.857" v="360"/>
          <ac:spMkLst>
            <pc:docMk/>
            <pc:sldMk cId="173337505" sldId="289"/>
            <ac:spMk id="415" creationId="{00000000-0000-0000-0000-000000000000}"/>
          </ac:spMkLst>
        </pc:spChg>
        <pc:grpChg chg="del">
          <ac:chgData name="Sreelesh Sreenivasan" userId="6ce93406-93cc-4d05-8cef-b5419bd8c87f" providerId="ADAL" clId="{E72384B4-68EF-4D23-AAEB-83D25B7600E5}" dt="2023-10-11T03:31:21.943" v="387" actId="478"/>
          <ac:grpSpMkLst>
            <pc:docMk/>
            <pc:sldMk cId="173337505" sldId="289"/>
            <ac:grpSpMk id="20" creationId="{00000000-0000-0000-0000-000000000000}"/>
          </ac:grpSpMkLst>
        </pc:grpChg>
        <pc:grpChg chg="del">
          <ac:chgData name="Sreelesh Sreenivasan" userId="6ce93406-93cc-4d05-8cef-b5419bd8c87f" providerId="ADAL" clId="{E72384B4-68EF-4D23-AAEB-83D25B7600E5}" dt="2023-10-11T03:31:22.916" v="388" actId="478"/>
          <ac:grpSpMkLst>
            <pc:docMk/>
            <pc:sldMk cId="173337505" sldId="289"/>
            <ac:grpSpMk id="416" creationId="{00000000-0000-0000-0000-000000000000}"/>
          </ac:grpSpMkLst>
        </pc:grpChg>
      </pc:sldChg>
      <pc:sldChg chg="addSp delSp modSp del mod">
        <pc:chgData name="Sreelesh Sreenivasan" userId="6ce93406-93cc-4d05-8cef-b5419bd8c87f" providerId="ADAL" clId="{E72384B4-68EF-4D23-AAEB-83D25B7600E5}" dt="2023-10-11T06:41:45.882" v="665" actId="47"/>
        <pc:sldMkLst>
          <pc:docMk/>
          <pc:sldMk cId="2324824496" sldId="290"/>
        </pc:sldMkLst>
        <pc:spChg chg="mod">
          <ac:chgData name="Sreelesh Sreenivasan" userId="6ce93406-93cc-4d05-8cef-b5419bd8c87f" providerId="ADAL" clId="{E72384B4-68EF-4D23-AAEB-83D25B7600E5}" dt="2023-10-11T03:32:30.960" v="405" actId="948"/>
          <ac:spMkLst>
            <pc:docMk/>
            <pc:sldMk cId="2324824496" sldId="290"/>
            <ac:spMk id="2" creationId="{00000000-0000-0000-0000-000000000000}"/>
          </ac:spMkLst>
        </pc:spChg>
        <pc:spChg chg="del">
          <ac:chgData name="Sreelesh Sreenivasan" userId="6ce93406-93cc-4d05-8cef-b5419bd8c87f" providerId="ADAL" clId="{E72384B4-68EF-4D23-AAEB-83D25B7600E5}" dt="2023-10-11T03:32:18.673" v="390" actId="478"/>
          <ac:spMkLst>
            <pc:docMk/>
            <pc:sldMk cId="2324824496" sldId="290"/>
            <ac:spMk id="4" creationId="{00000000-0000-0000-0000-000000000000}"/>
          </ac:spMkLst>
        </pc:spChg>
        <pc:spChg chg="del">
          <ac:chgData name="Sreelesh Sreenivasan" userId="6ce93406-93cc-4d05-8cef-b5419bd8c87f" providerId="ADAL" clId="{E72384B4-68EF-4D23-AAEB-83D25B7600E5}" dt="2023-10-11T03:32:19.358" v="391" actId="478"/>
          <ac:spMkLst>
            <pc:docMk/>
            <pc:sldMk cId="2324824496" sldId="290"/>
            <ac:spMk id="5" creationId="{00000000-0000-0000-0000-000000000000}"/>
          </ac:spMkLst>
        </pc:spChg>
        <pc:spChg chg="del">
          <ac:chgData name="Sreelesh Sreenivasan" userId="6ce93406-93cc-4d05-8cef-b5419bd8c87f" providerId="ADAL" clId="{E72384B4-68EF-4D23-AAEB-83D25B7600E5}" dt="2023-10-11T03:32:24.424" v="397" actId="478"/>
          <ac:spMkLst>
            <pc:docMk/>
            <pc:sldMk cId="2324824496" sldId="290"/>
            <ac:spMk id="6" creationId="{00000000-0000-0000-0000-000000000000}"/>
          </ac:spMkLst>
        </pc:spChg>
        <pc:spChg chg="del">
          <ac:chgData name="Sreelesh Sreenivasan" userId="6ce93406-93cc-4d05-8cef-b5419bd8c87f" providerId="ADAL" clId="{E72384B4-68EF-4D23-AAEB-83D25B7600E5}" dt="2023-10-11T03:32:22.231" v="394" actId="478"/>
          <ac:spMkLst>
            <pc:docMk/>
            <pc:sldMk cId="2324824496" sldId="290"/>
            <ac:spMk id="7" creationId="{00000000-0000-0000-0000-000000000000}"/>
          </ac:spMkLst>
        </pc:spChg>
        <pc:spChg chg="del">
          <ac:chgData name="Sreelesh Sreenivasan" userId="6ce93406-93cc-4d05-8cef-b5419bd8c87f" providerId="ADAL" clId="{E72384B4-68EF-4D23-AAEB-83D25B7600E5}" dt="2023-10-11T03:32:28.482" v="402" actId="478"/>
          <ac:spMkLst>
            <pc:docMk/>
            <pc:sldMk cId="2324824496" sldId="290"/>
            <ac:spMk id="8" creationId="{00000000-0000-0000-0000-000000000000}"/>
          </ac:spMkLst>
        </pc:spChg>
        <pc:spChg chg="del">
          <ac:chgData name="Sreelesh Sreenivasan" userId="6ce93406-93cc-4d05-8cef-b5419bd8c87f" providerId="ADAL" clId="{E72384B4-68EF-4D23-AAEB-83D25B7600E5}" dt="2023-10-11T03:32:25.809" v="399" actId="478"/>
          <ac:spMkLst>
            <pc:docMk/>
            <pc:sldMk cId="2324824496" sldId="290"/>
            <ac:spMk id="9" creationId="{00000000-0000-0000-0000-000000000000}"/>
          </ac:spMkLst>
        </pc:spChg>
        <pc:spChg chg="add mod">
          <ac:chgData name="Sreelesh Sreenivasan" userId="6ce93406-93cc-4d05-8cef-b5419bd8c87f" providerId="ADAL" clId="{E72384B4-68EF-4D23-AAEB-83D25B7600E5}" dt="2023-10-11T03:33:14.218" v="436" actId="1076"/>
          <ac:spMkLst>
            <pc:docMk/>
            <pc:sldMk cId="2324824496" sldId="290"/>
            <ac:spMk id="11" creationId="{F09010FF-A6DB-78A6-A63C-16F218898B3D}"/>
          </ac:spMkLst>
        </pc:spChg>
        <pc:spChg chg="add mod">
          <ac:chgData name="Sreelesh Sreenivasan" userId="6ce93406-93cc-4d05-8cef-b5419bd8c87f" providerId="ADAL" clId="{E72384B4-68EF-4D23-AAEB-83D25B7600E5}" dt="2023-10-11T03:33:12.464" v="435" actId="1076"/>
          <ac:spMkLst>
            <pc:docMk/>
            <pc:sldMk cId="2324824496" sldId="290"/>
            <ac:spMk id="13" creationId="{67A562DA-C364-19DD-1702-35ABF40079F4}"/>
          </ac:spMkLst>
        </pc:spChg>
        <pc:spChg chg="del">
          <ac:chgData name="Sreelesh Sreenivasan" userId="6ce93406-93cc-4d05-8cef-b5419bd8c87f" providerId="ADAL" clId="{E72384B4-68EF-4D23-AAEB-83D25B7600E5}" dt="2023-10-11T03:32:21.781" v="393" actId="478"/>
          <ac:spMkLst>
            <pc:docMk/>
            <pc:sldMk cId="2324824496" sldId="290"/>
            <ac:spMk id="35" creationId="{00000000-0000-0000-0000-000000000000}"/>
          </ac:spMkLst>
        </pc:spChg>
        <pc:spChg chg="del">
          <ac:chgData name="Sreelesh Sreenivasan" userId="6ce93406-93cc-4d05-8cef-b5419bd8c87f" providerId="ADAL" clId="{E72384B4-68EF-4D23-AAEB-83D25B7600E5}" dt="2023-10-11T03:32:25.241" v="398" actId="478"/>
          <ac:spMkLst>
            <pc:docMk/>
            <pc:sldMk cId="2324824496" sldId="290"/>
            <ac:spMk id="36" creationId="{00000000-0000-0000-0000-000000000000}"/>
          </ac:spMkLst>
        </pc:spChg>
        <pc:spChg chg="del">
          <ac:chgData name="Sreelesh Sreenivasan" userId="6ce93406-93cc-4d05-8cef-b5419bd8c87f" providerId="ADAL" clId="{E72384B4-68EF-4D23-AAEB-83D25B7600E5}" dt="2023-10-11T03:32:27.637" v="401" actId="478"/>
          <ac:spMkLst>
            <pc:docMk/>
            <pc:sldMk cId="2324824496" sldId="290"/>
            <ac:spMk id="37" creationId="{00000000-0000-0000-0000-000000000000}"/>
          </ac:spMkLst>
        </pc:spChg>
        <pc:spChg chg="del">
          <ac:chgData name="Sreelesh Sreenivasan" userId="6ce93406-93cc-4d05-8cef-b5419bd8c87f" providerId="ADAL" clId="{E72384B4-68EF-4D23-AAEB-83D25B7600E5}" dt="2023-10-11T03:32:20.656" v="392" actId="478"/>
          <ac:spMkLst>
            <pc:docMk/>
            <pc:sldMk cId="2324824496" sldId="290"/>
            <ac:spMk id="38" creationId="{00000000-0000-0000-0000-000000000000}"/>
          </ac:spMkLst>
        </pc:spChg>
        <pc:spChg chg="del mod">
          <ac:chgData name="Sreelesh Sreenivasan" userId="6ce93406-93cc-4d05-8cef-b5419bd8c87f" providerId="ADAL" clId="{E72384B4-68EF-4D23-AAEB-83D25B7600E5}" dt="2023-10-11T03:32:23.823" v="396" actId="478"/>
          <ac:spMkLst>
            <pc:docMk/>
            <pc:sldMk cId="2324824496" sldId="290"/>
            <ac:spMk id="39" creationId="{00000000-0000-0000-0000-000000000000}"/>
          </ac:spMkLst>
        </pc:spChg>
        <pc:spChg chg="del">
          <ac:chgData name="Sreelesh Sreenivasan" userId="6ce93406-93cc-4d05-8cef-b5419bd8c87f" providerId="ADAL" clId="{E72384B4-68EF-4D23-AAEB-83D25B7600E5}" dt="2023-10-11T03:32:26.745" v="400" actId="478"/>
          <ac:spMkLst>
            <pc:docMk/>
            <pc:sldMk cId="2324824496" sldId="290"/>
            <ac:spMk id="40" creationId="{00000000-0000-0000-0000-000000000000}"/>
          </ac:spMkLst>
        </pc:spChg>
        <pc:graphicFrameChg chg="add mod ord modVis replST">
          <ac:chgData name="Sreelesh Sreenivasan" userId="6ce93406-93cc-4d05-8cef-b5419bd8c87f" providerId="ADAL" clId="{E72384B4-68EF-4D23-AAEB-83D25B7600E5}" dt="2023-10-11T03:32:30.991" v="423"/>
          <ac:graphicFrameMkLst>
            <pc:docMk/>
            <pc:sldMk cId="2324824496" sldId="290"/>
            <ac:graphicFrameMk id="3" creationId="{2076124E-30EF-906E-77F6-ECC05CB4D6B7}"/>
          </ac:graphicFrameMkLst>
        </pc:graphicFrameChg>
      </pc:sldChg>
      <pc:sldChg chg="addSp delSp modSp mod">
        <pc:chgData name="Sreelesh Sreenivasan" userId="6ce93406-93cc-4d05-8cef-b5419bd8c87f" providerId="ADAL" clId="{E72384B4-68EF-4D23-AAEB-83D25B7600E5}" dt="2023-10-11T08:02:07.352" v="1431"/>
        <pc:sldMkLst>
          <pc:docMk/>
          <pc:sldMk cId="3131676995" sldId="294"/>
        </pc:sldMkLst>
        <pc:spChg chg="add mod">
          <ac:chgData name="Sreelesh Sreenivasan" userId="6ce93406-93cc-4d05-8cef-b5419bd8c87f" providerId="ADAL" clId="{E72384B4-68EF-4D23-AAEB-83D25B7600E5}" dt="2023-10-11T08:02:06.529" v="1413" actId="478"/>
          <ac:spMkLst>
            <pc:docMk/>
            <pc:sldMk cId="3131676995" sldId="294"/>
            <ac:spMk id="3" creationId="{9EDB9C0C-96CF-38B0-2F94-AF3CAEE60141}"/>
          </ac:spMkLst>
        </pc:spChg>
        <pc:spChg chg="del">
          <ac:chgData name="Sreelesh Sreenivasan" userId="6ce93406-93cc-4d05-8cef-b5419bd8c87f" providerId="ADAL" clId="{E72384B4-68EF-4D23-AAEB-83D25B7600E5}" dt="2023-10-11T08:02:03.999" v="1412" actId="478"/>
          <ac:spMkLst>
            <pc:docMk/>
            <pc:sldMk cId="3131676995" sldId="294"/>
            <ac:spMk id="7" creationId="{E25C5A1E-27A4-4CB6-A31B-A1B93336855B}"/>
          </ac:spMkLst>
        </pc:spChg>
        <pc:spChg chg="del">
          <ac:chgData name="Sreelesh Sreenivasan" userId="6ce93406-93cc-4d05-8cef-b5419bd8c87f" providerId="ADAL" clId="{E72384B4-68EF-4D23-AAEB-83D25B7600E5}" dt="2023-10-11T08:02:06.529" v="1413" actId="478"/>
          <ac:spMkLst>
            <pc:docMk/>
            <pc:sldMk cId="3131676995" sldId="294"/>
            <ac:spMk id="10" creationId="{31E41025-90C9-41DF-BF4B-DB4BAEE1B531}"/>
          </ac:spMkLst>
        </pc:spChg>
        <pc:graphicFrameChg chg="add mod ord modVis replST">
          <ac:chgData name="Sreelesh Sreenivasan" userId="6ce93406-93cc-4d05-8cef-b5419bd8c87f" providerId="ADAL" clId="{E72384B4-68EF-4D23-AAEB-83D25B7600E5}" dt="2023-10-11T08:02:07.352" v="1431"/>
          <ac:graphicFrameMkLst>
            <pc:docMk/>
            <pc:sldMk cId="3131676995" sldId="294"/>
            <ac:graphicFrameMk id="4" creationId="{9AE4E505-998B-8631-A565-B6272DB6D9A2}"/>
          </ac:graphicFrameMkLst>
        </pc:graphicFrameChg>
        <pc:picChg chg="del">
          <ac:chgData name="Sreelesh Sreenivasan" userId="6ce93406-93cc-4d05-8cef-b5419bd8c87f" providerId="ADAL" clId="{E72384B4-68EF-4D23-AAEB-83D25B7600E5}" dt="2023-10-11T03:18:06.308" v="205" actId="478"/>
          <ac:picMkLst>
            <pc:docMk/>
            <pc:sldMk cId="3131676995" sldId="294"/>
            <ac:picMk id="4" creationId="{75C03A41-A248-4226-84F5-8EE678B6356A}"/>
          </ac:picMkLst>
        </pc:picChg>
      </pc:sldChg>
      <pc:sldChg chg="addSp delSp modSp del mod setBg">
        <pc:chgData name="Sreelesh Sreenivasan" userId="6ce93406-93cc-4d05-8cef-b5419bd8c87f" providerId="ADAL" clId="{E72384B4-68EF-4D23-AAEB-83D25B7600E5}" dt="2023-10-11T06:52:34.014" v="1189" actId="47"/>
        <pc:sldMkLst>
          <pc:docMk/>
          <pc:sldMk cId="385125967" sldId="296"/>
        </pc:sldMkLst>
        <pc:spChg chg="mod">
          <ac:chgData name="Sreelesh Sreenivasan" userId="6ce93406-93cc-4d05-8cef-b5419bd8c87f" providerId="ADAL" clId="{E72384B4-68EF-4D23-AAEB-83D25B7600E5}" dt="2023-10-11T06:51:51.012" v="1170" actId="1076"/>
          <ac:spMkLst>
            <pc:docMk/>
            <pc:sldMk cId="385125967" sldId="296"/>
            <ac:spMk id="3" creationId="{982A7F1F-12E6-4954-9FCE-8AAE35659560}"/>
          </ac:spMkLst>
        </pc:spChg>
        <pc:spChg chg="add del mod modVis">
          <ac:chgData name="Sreelesh Sreenivasan" userId="6ce93406-93cc-4d05-8cef-b5419bd8c87f" providerId="ADAL" clId="{E72384B4-68EF-4D23-AAEB-83D25B7600E5}" dt="2023-10-11T06:51:51.012" v="1170" actId="1076"/>
          <ac:spMkLst>
            <pc:docMk/>
            <pc:sldMk cId="385125967" sldId="296"/>
            <ac:spMk id="5" creationId="{BC09C4EF-EE22-231C-D7A0-E2B94101A76F}"/>
          </ac:spMkLst>
        </pc:spChg>
        <pc:spChg chg="add">
          <ac:chgData name="Sreelesh Sreenivasan" userId="6ce93406-93cc-4d05-8cef-b5419bd8c87f" providerId="ADAL" clId="{E72384B4-68EF-4D23-AAEB-83D25B7600E5}" dt="2023-10-11T06:51:48.099" v="1064" actId="26606"/>
          <ac:spMkLst>
            <pc:docMk/>
            <pc:sldMk cId="385125967" sldId="296"/>
            <ac:spMk id="4105" creationId="{70155189-D96C-4527-B0EC-654B946BE615}"/>
          </ac:spMkLst>
        </pc:spChg>
        <pc:graphicFrameChg chg="add del mod ord modVis replST delST">
          <ac:chgData name="Sreelesh Sreenivasan" userId="6ce93406-93cc-4d05-8cef-b5419bd8c87f" providerId="ADAL" clId="{E72384B4-68EF-4D23-AAEB-83D25B7600E5}" dt="2023-10-11T06:51:51.012" v="1170" actId="1076"/>
          <ac:graphicFrameMkLst>
            <pc:docMk/>
            <pc:sldMk cId="385125967" sldId="296"/>
            <ac:graphicFrameMk id="6" creationId="{D057A2FF-42BA-6FF8-4FE2-F383B57E9E80}"/>
          </ac:graphicFrameMkLst>
        </pc:graphicFrameChg>
        <pc:picChg chg="add del mod">
          <ac:chgData name="Sreelesh Sreenivasan" userId="6ce93406-93cc-4d05-8cef-b5419bd8c87f" providerId="ADAL" clId="{E72384B4-68EF-4D23-AAEB-83D25B7600E5}" dt="2023-10-11T06:52:19.902" v="1182" actId="1076"/>
          <ac:picMkLst>
            <pc:docMk/>
            <pc:sldMk cId="385125967" sldId="296"/>
            <ac:picMk id="2" creationId="{1B10B526-D4F2-8B6D-B9E2-DCD018AD2A1B}"/>
          </ac:picMkLst>
        </pc:picChg>
        <pc:picChg chg="del">
          <ac:chgData name="Sreelesh Sreenivasan" userId="6ce93406-93cc-4d05-8cef-b5419bd8c87f" providerId="ADAL" clId="{E72384B4-68EF-4D23-AAEB-83D25B7600E5}" dt="2023-10-11T03:18:03.888" v="204" actId="478"/>
          <ac:picMkLst>
            <pc:docMk/>
            <pc:sldMk cId="385125967" sldId="296"/>
            <ac:picMk id="4" creationId="{5AA6E1F9-C7B3-49AF-BB3E-CFAA1228F4D1}"/>
          </ac:picMkLst>
        </pc:picChg>
        <pc:picChg chg="add del mod">
          <ac:chgData name="Sreelesh Sreenivasan" userId="6ce93406-93cc-4d05-8cef-b5419bd8c87f" providerId="ADAL" clId="{E72384B4-68EF-4D23-AAEB-83D25B7600E5}" dt="2023-10-11T06:51:56.206" v="1176"/>
          <ac:picMkLst>
            <pc:docMk/>
            <pc:sldMk cId="385125967" sldId="296"/>
            <ac:picMk id="4" creationId="{EF9D06F2-7A6D-3A60-1D4A-F10845321478}"/>
          </ac:picMkLst>
        </pc:picChg>
        <pc:picChg chg="add del mod">
          <ac:chgData name="Sreelesh Sreenivasan" userId="6ce93406-93cc-4d05-8cef-b5419bd8c87f" providerId="ADAL" clId="{E72384B4-68EF-4D23-AAEB-83D25B7600E5}" dt="2023-10-11T06:49:29.419" v="1001" actId="21"/>
          <ac:picMkLst>
            <pc:docMk/>
            <pc:sldMk cId="385125967" sldId="296"/>
            <ac:picMk id="4098" creationId="{7DC44094-3D32-11EE-A439-3D9A889383EC}"/>
          </ac:picMkLst>
        </pc:picChg>
        <pc:picChg chg="add mod ord">
          <ac:chgData name="Sreelesh Sreenivasan" userId="6ce93406-93cc-4d05-8cef-b5419bd8c87f" providerId="ADAL" clId="{E72384B4-68EF-4D23-AAEB-83D25B7600E5}" dt="2023-10-11T06:51:55.506" v="1174" actId="1076"/>
          <ac:picMkLst>
            <pc:docMk/>
            <pc:sldMk cId="385125967" sldId="296"/>
            <ac:picMk id="4100" creationId="{AE57DDFC-39E4-001C-CE2E-13CA861BBDA7}"/>
          </ac:picMkLst>
        </pc:picChg>
      </pc:sldChg>
      <pc:sldChg chg="addSp delSp modSp mod">
        <pc:chgData name="Sreelesh Sreenivasan" userId="6ce93406-93cc-4d05-8cef-b5419bd8c87f" providerId="ADAL" clId="{E72384B4-68EF-4D23-AAEB-83D25B7600E5}" dt="2023-10-11T06:51:25.037" v="1053" actId="1036"/>
        <pc:sldMkLst>
          <pc:docMk/>
          <pc:sldMk cId="1863234839" sldId="298"/>
        </pc:sldMkLst>
        <pc:spChg chg="add del mod modVis">
          <ac:chgData name="Sreelesh Sreenivasan" userId="6ce93406-93cc-4d05-8cef-b5419bd8c87f" providerId="ADAL" clId="{E72384B4-68EF-4D23-AAEB-83D25B7600E5}" dt="2023-10-11T06:42:18.949" v="721"/>
          <ac:spMkLst>
            <pc:docMk/>
            <pc:sldMk cId="1863234839" sldId="298"/>
            <ac:spMk id="2" creationId="{44DCE990-1A85-A47F-FC28-C9F0B3926B2C}"/>
          </ac:spMkLst>
        </pc:spChg>
        <pc:spChg chg="add del mod modVis">
          <ac:chgData name="Sreelesh Sreenivasan" userId="6ce93406-93cc-4d05-8cef-b5419bd8c87f" providerId="ADAL" clId="{E72384B4-68EF-4D23-AAEB-83D25B7600E5}" dt="2023-10-11T06:42:21.022" v="788"/>
          <ac:spMkLst>
            <pc:docMk/>
            <pc:sldMk cId="1863234839" sldId="298"/>
            <ac:spMk id="4" creationId="{2002997A-3640-E29C-CA50-6ADCB7121F51}"/>
          </ac:spMkLst>
        </pc:spChg>
        <pc:spChg chg="mod">
          <ac:chgData name="Sreelesh Sreenivasan" userId="6ce93406-93cc-4d05-8cef-b5419bd8c87f" providerId="ADAL" clId="{E72384B4-68EF-4D23-AAEB-83D25B7600E5}" dt="2023-10-11T06:42:24.712" v="839" actId="948"/>
          <ac:spMkLst>
            <pc:docMk/>
            <pc:sldMk cId="1863234839" sldId="298"/>
            <ac:spMk id="5" creationId="{AB542D87-DDCB-4683-8842-BC5605C8D09B}"/>
          </ac:spMkLst>
        </pc:spChg>
        <pc:spChg chg="add del mod modVis">
          <ac:chgData name="Sreelesh Sreenivasan" userId="6ce93406-93cc-4d05-8cef-b5419bd8c87f" providerId="ADAL" clId="{E72384B4-68EF-4D23-AAEB-83D25B7600E5}" dt="2023-10-11T06:42:22.530" v="835"/>
          <ac:spMkLst>
            <pc:docMk/>
            <pc:sldMk cId="1863234839" sldId="298"/>
            <ac:spMk id="6" creationId="{6FD9AB81-506F-320D-D3EE-CD7098B06367}"/>
          </ac:spMkLst>
        </pc:spChg>
        <pc:spChg chg="add del mod modVis">
          <ac:chgData name="Sreelesh Sreenivasan" userId="6ce93406-93cc-4d05-8cef-b5419bd8c87f" providerId="ADAL" clId="{E72384B4-68EF-4D23-AAEB-83D25B7600E5}" dt="2023-10-11T06:42:24.761" v="880"/>
          <ac:spMkLst>
            <pc:docMk/>
            <pc:sldMk cId="1863234839" sldId="298"/>
            <ac:spMk id="7" creationId="{F06F9F0F-FAC0-E80E-6F37-EFF926E97518}"/>
          </ac:spMkLst>
        </pc:spChg>
        <pc:spChg chg="add mod">
          <ac:chgData name="Sreelesh Sreenivasan" userId="6ce93406-93cc-4d05-8cef-b5419bd8c87f" providerId="ADAL" clId="{E72384B4-68EF-4D23-AAEB-83D25B7600E5}" dt="2023-10-11T06:51:06.348" v="1040" actId="14100"/>
          <ac:spMkLst>
            <pc:docMk/>
            <pc:sldMk cId="1863234839" sldId="298"/>
            <ac:spMk id="8" creationId="{CC4168BC-28F1-A8C4-D13A-4698DC6A8775}"/>
          </ac:spMkLst>
        </pc:spChg>
        <pc:spChg chg="add mod">
          <ac:chgData name="Sreelesh Sreenivasan" userId="6ce93406-93cc-4d05-8cef-b5419bd8c87f" providerId="ADAL" clId="{E72384B4-68EF-4D23-AAEB-83D25B7600E5}" dt="2023-10-11T06:51:25.037" v="1053" actId="1036"/>
          <ac:spMkLst>
            <pc:docMk/>
            <pc:sldMk cId="1863234839" sldId="298"/>
            <ac:spMk id="9" creationId="{4ECD2886-CD11-20F2-C429-DBEC55EFBC20}"/>
          </ac:spMkLst>
        </pc:spChg>
        <pc:spChg chg="add mod">
          <ac:chgData name="Sreelesh Sreenivasan" userId="6ce93406-93cc-4d05-8cef-b5419bd8c87f" providerId="ADAL" clId="{E72384B4-68EF-4D23-AAEB-83D25B7600E5}" dt="2023-10-11T06:50:52.299" v="1031" actId="554"/>
          <ac:spMkLst>
            <pc:docMk/>
            <pc:sldMk cId="1863234839" sldId="298"/>
            <ac:spMk id="10" creationId="{A06C2E62-68AD-A91E-28FB-9939611820EA}"/>
          </ac:spMkLst>
        </pc:spChg>
        <pc:spChg chg="add del mod">
          <ac:chgData name="Sreelesh Sreenivasan" userId="6ce93406-93cc-4d05-8cef-b5419bd8c87f" providerId="ADAL" clId="{E72384B4-68EF-4D23-AAEB-83D25B7600E5}" dt="2023-10-11T06:45:42.777" v="919" actId="478"/>
          <ac:spMkLst>
            <pc:docMk/>
            <pc:sldMk cId="1863234839" sldId="298"/>
            <ac:spMk id="11" creationId="{8E49D1C5-B15F-9516-0772-8315BA242FE0}"/>
          </ac:spMkLst>
        </pc:spChg>
        <pc:spChg chg="add del mod">
          <ac:chgData name="Sreelesh Sreenivasan" userId="6ce93406-93cc-4d05-8cef-b5419bd8c87f" providerId="ADAL" clId="{E72384B4-68EF-4D23-AAEB-83D25B7600E5}" dt="2023-10-11T06:45:46.976" v="921" actId="478"/>
          <ac:spMkLst>
            <pc:docMk/>
            <pc:sldMk cId="1863234839" sldId="298"/>
            <ac:spMk id="12" creationId="{02E16F61-90A0-C437-E897-F8CADFCE6CDE}"/>
          </ac:spMkLst>
        </pc:spChg>
        <pc:spChg chg="add mod">
          <ac:chgData name="Sreelesh Sreenivasan" userId="6ce93406-93cc-4d05-8cef-b5419bd8c87f" providerId="ADAL" clId="{E72384B4-68EF-4D23-AAEB-83D25B7600E5}" dt="2023-10-11T06:50:57.540" v="1037" actId="1038"/>
          <ac:spMkLst>
            <pc:docMk/>
            <pc:sldMk cId="1863234839" sldId="298"/>
            <ac:spMk id="13" creationId="{AB225A37-9A3C-3F4D-9543-5C0F3C874910}"/>
          </ac:spMkLst>
        </pc:spChg>
        <pc:spChg chg="add mod">
          <ac:chgData name="Sreelesh Sreenivasan" userId="6ce93406-93cc-4d05-8cef-b5419bd8c87f" providerId="ADAL" clId="{E72384B4-68EF-4D23-AAEB-83D25B7600E5}" dt="2023-10-11T06:48:41.726" v="993" actId="571"/>
          <ac:spMkLst>
            <pc:docMk/>
            <pc:sldMk cId="1863234839" sldId="298"/>
            <ac:spMk id="14" creationId="{B07101C4-108E-5372-36EF-BD52A899E857}"/>
          </ac:spMkLst>
        </pc:spChg>
        <pc:spChg chg="add mod">
          <ac:chgData name="Sreelesh Sreenivasan" userId="6ce93406-93cc-4d05-8cef-b5419bd8c87f" providerId="ADAL" clId="{E72384B4-68EF-4D23-AAEB-83D25B7600E5}" dt="2023-10-11T06:48:41.726" v="993" actId="571"/>
          <ac:spMkLst>
            <pc:docMk/>
            <pc:sldMk cId="1863234839" sldId="298"/>
            <ac:spMk id="15" creationId="{41F2A36E-A988-8BB4-1E47-24E2739C156E}"/>
          </ac:spMkLst>
        </pc:spChg>
        <pc:spChg chg="add mod">
          <ac:chgData name="Sreelesh Sreenivasan" userId="6ce93406-93cc-4d05-8cef-b5419bd8c87f" providerId="ADAL" clId="{E72384B4-68EF-4D23-AAEB-83D25B7600E5}" dt="2023-10-11T06:48:41.726" v="993" actId="571"/>
          <ac:spMkLst>
            <pc:docMk/>
            <pc:sldMk cId="1863234839" sldId="298"/>
            <ac:spMk id="16" creationId="{62BE787D-BAAF-8905-BA02-68A71755EDBA}"/>
          </ac:spMkLst>
        </pc:spChg>
        <pc:spChg chg="add mod">
          <ac:chgData name="Sreelesh Sreenivasan" userId="6ce93406-93cc-4d05-8cef-b5419bd8c87f" providerId="ADAL" clId="{E72384B4-68EF-4D23-AAEB-83D25B7600E5}" dt="2023-10-11T06:48:41.726" v="993" actId="571"/>
          <ac:spMkLst>
            <pc:docMk/>
            <pc:sldMk cId="1863234839" sldId="298"/>
            <ac:spMk id="17" creationId="{1B448C93-C191-169C-A2D2-DA33331AE934}"/>
          </ac:spMkLst>
        </pc:spChg>
        <pc:spChg chg="add mod">
          <ac:chgData name="Sreelesh Sreenivasan" userId="6ce93406-93cc-4d05-8cef-b5419bd8c87f" providerId="ADAL" clId="{E72384B4-68EF-4D23-AAEB-83D25B7600E5}" dt="2023-10-11T06:51:16.229" v="1046" actId="14100"/>
          <ac:spMkLst>
            <pc:docMk/>
            <pc:sldMk cId="1863234839" sldId="298"/>
            <ac:spMk id="19" creationId="{5B800CC8-0B65-883C-4AF3-E963D9B6D80E}"/>
          </ac:spMkLst>
        </pc:spChg>
        <pc:spChg chg="add mod">
          <ac:chgData name="Sreelesh Sreenivasan" userId="6ce93406-93cc-4d05-8cef-b5419bd8c87f" providerId="ADAL" clId="{E72384B4-68EF-4D23-AAEB-83D25B7600E5}" dt="2023-10-11T06:50:52.299" v="1031" actId="554"/>
          <ac:spMkLst>
            <pc:docMk/>
            <pc:sldMk cId="1863234839" sldId="298"/>
            <ac:spMk id="20" creationId="{20B69744-425F-1DCF-C7AF-E57ED24034DD}"/>
          </ac:spMkLst>
        </pc:spChg>
        <pc:graphicFrameChg chg="add mod ord modVis replST">
          <ac:chgData name="Sreelesh Sreenivasan" userId="6ce93406-93cc-4d05-8cef-b5419bd8c87f" providerId="ADAL" clId="{E72384B4-68EF-4D23-AAEB-83D25B7600E5}" dt="2023-10-11T06:42:24.763" v="882"/>
          <ac:graphicFrameMkLst>
            <pc:docMk/>
            <pc:sldMk cId="1863234839" sldId="298"/>
            <ac:graphicFrameMk id="3" creationId="{CEF2A084-B90C-BB60-CEC9-BE67CD0929C3}"/>
          </ac:graphicFrameMkLst>
        </pc:graphicFrameChg>
        <pc:picChg chg="del">
          <ac:chgData name="Sreelesh Sreenivasan" userId="6ce93406-93cc-4d05-8cef-b5419bd8c87f" providerId="ADAL" clId="{E72384B4-68EF-4D23-AAEB-83D25B7600E5}" dt="2023-10-11T03:18:01.718" v="203" actId="478"/>
          <ac:picMkLst>
            <pc:docMk/>
            <pc:sldMk cId="1863234839" sldId="298"/>
            <ac:picMk id="4" creationId="{1CE2735B-2385-451A-A332-85F4851916D8}"/>
          </ac:picMkLst>
        </pc:picChg>
        <pc:picChg chg="add mod">
          <ac:chgData name="Sreelesh Sreenivasan" userId="6ce93406-93cc-4d05-8cef-b5419bd8c87f" providerId="ADAL" clId="{E72384B4-68EF-4D23-AAEB-83D25B7600E5}" dt="2023-10-11T06:50:40.014" v="1029" actId="554"/>
          <ac:picMkLst>
            <pc:docMk/>
            <pc:sldMk cId="1863234839" sldId="298"/>
            <ac:picMk id="18" creationId="{7E139940-4EF1-3ECE-BFEC-E023A63F04A4}"/>
          </ac:picMkLst>
        </pc:picChg>
        <pc:picChg chg="add mod">
          <ac:chgData name="Sreelesh Sreenivasan" userId="6ce93406-93cc-4d05-8cef-b5419bd8c87f" providerId="ADAL" clId="{E72384B4-68EF-4D23-AAEB-83D25B7600E5}" dt="2023-10-11T06:50:40.014" v="1029" actId="554"/>
          <ac:picMkLst>
            <pc:docMk/>
            <pc:sldMk cId="1863234839" sldId="298"/>
            <ac:picMk id="3074" creationId="{A9650C3F-DA4D-D37E-F7CD-DCEADE91CC92}"/>
          </ac:picMkLst>
        </pc:picChg>
        <pc:picChg chg="add mod">
          <ac:chgData name="Sreelesh Sreenivasan" userId="6ce93406-93cc-4d05-8cef-b5419bd8c87f" providerId="ADAL" clId="{E72384B4-68EF-4D23-AAEB-83D25B7600E5}" dt="2023-10-11T06:50:40.014" v="1029" actId="554"/>
          <ac:picMkLst>
            <pc:docMk/>
            <pc:sldMk cId="1863234839" sldId="298"/>
            <ac:picMk id="3076" creationId="{19516EC6-4642-F466-BAC3-FCCC8CE01AF3}"/>
          </ac:picMkLst>
        </pc:picChg>
      </pc:sldChg>
      <pc:sldChg chg="addSp delSp modSp new add mod">
        <pc:chgData name="Sreelesh Sreenivasan" userId="6ce93406-93cc-4d05-8cef-b5419bd8c87f" providerId="ADAL" clId="{E72384B4-68EF-4D23-AAEB-83D25B7600E5}" dt="2023-10-11T07:19:49.787" v="1407" actId="14100"/>
        <pc:sldMkLst>
          <pc:docMk/>
          <pc:sldMk cId="1678141314" sldId="300"/>
        </pc:sldMkLst>
        <pc:spChg chg="del">
          <ac:chgData name="Sreelesh Sreenivasan" userId="6ce93406-93cc-4d05-8cef-b5419bd8c87f" providerId="ADAL" clId="{E72384B4-68EF-4D23-AAEB-83D25B7600E5}" dt="2023-10-11T03:35:28.472" v="456" actId="478"/>
          <ac:spMkLst>
            <pc:docMk/>
            <pc:sldMk cId="1678141314" sldId="300"/>
            <ac:spMk id="2" creationId="{487315F1-FB9F-3855-9C0E-0B3CC3A7A082}"/>
          </ac:spMkLst>
        </pc:spChg>
        <pc:spChg chg="del">
          <ac:chgData name="Sreelesh Sreenivasan" userId="6ce93406-93cc-4d05-8cef-b5419bd8c87f" providerId="ADAL" clId="{E72384B4-68EF-4D23-AAEB-83D25B7600E5}" dt="2023-10-11T03:35:27.361" v="455" actId="478"/>
          <ac:spMkLst>
            <pc:docMk/>
            <pc:sldMk cId="1678141314" sldId="300"/>
            <ac:spMk id="3" creationId="{2E22356C-B8CC-B8F7-4C6F-9D9920B87BAE}"/>
          </ac:spMkLst>
        </pc:spChg>
        <pc:spChg chg="add mod">
          <ac:chgData name="Sreelesh Sreenivasan" userId="6ce93406-93cc-4d05-8cef-b5419bd8c87f" providerId="ADAL" clId="{E72384B4-68EF-4D23-AAEB-83D25B7600E5}" dt="2023-10-11T06:53:28.248" v="1209" actId="948"/>
          <ac:spMkLst>
            <pc:docMk/>
            <pc:sldMk cId="1678141314" sldId="300"/>
            <ac:spMk id="3" creationId="{F6BAA956-D557-40E1-D7C8-08FA7FF3AB4F}"/>
          </ac:spMkLst>
        </pc:spChg>
        <pc:spChg chg="add del mod modVis">
          <ac:chgData name="Sreelesh Sreenivasan" userId="6ce93406-93cc-4d05-8cef-b5419bd8c87f" providerId="ADAL" clId="{E72384B4-68EF-4D23-AAEB-83D25B7600E5}" dt="2023-10-11T06:53:28.343" v="1250"/>
          <ac:spMkLst>
            <pc:docMk/>
            <pc:sldMk cId="1678141314" sldId="300"/>
            <ac:spMk id="5" creationId="{85662B76-8FB0-BDDB-2FCE-EC340019E121}"/>
          </ac:spMkLst>
        </pc:spChg>
        <pc:spChg chg="add mod">
          <ac:chgData name="Sreelesh Sreenivasan" userId="6ce93406-93cc-4d05-8cef-b5419bd8c87f" providerId="ADAL" clId="{E72384B4-68EF-4D23-AAEB-83D25B7600E5}" dt="2023-10-11T07:15:28.546" v="1275" actId="20577"/>
          <ac:spMkLst>
            <pc:docMk/>
            <pc:sldMk cId="1678141314" sldId="300"/>
            <ac:spMk id="6" creationId="{B6EA46DC-4D80-7A56-CF9B-9871F1B4AF6D}"/>
          </ac:spMkLst>
        </pc:spChg>
        <pc:spChg chg="add mod">
          <ac:chgData name="Sreelesh Sreenivasan" userId="6ce93406-93cc-4d05-8cef-b5419bd8c87f" providerId="ADAL" clId="{E72384B4-68EF-4D23-AAEB-83D25B7600E5}" dt="2023-10-11T07:19:49.787" v="1407" actId="14100"/>
          <ac:spMkLst>
            <pc:docMk/>
            <pc:sldMk cId="1678141314" sldId="300"/>
            <ac:spMk id="7" creationId="{4D08066E-A464-1B00-755A-D5C5AAA805B9}"/>
          </ac:spMkLst>
        </pc:spChg>
        <pc:spChg chg="add mod">
          <ac:chgData name="Sreelesh Sreenivasan" userId="6ce93406-93cc-4d05-8cef-b5419bd8c87f" providerId="ADAL" clId="{E72384B4-68EF-4D23-AAEB-83D25B7600E5}" dt="2023-10-11T07:15:37.265" v="1276"/>
          <ac:spMkLst>
            <pc:docMk/>
            <pc:sldMk cId="1678141314" sldId="300"/>
            <ac:spMk id="8" creationId="{2DA5B442-9CD9-7ECE-D179-981DB9794E61}"/>
          </ac:spMkLst>
        </pc:spChg>
        <pc:spChg chg="add mod">
          <ac:chgData name="Sreelesh Sreenivasan" userId="6ce93406-93cc-4d05-8cef-b5419bd8c87f" providerId="ADAL" clId="{E72384B4-68EF-4D23-AAEB-83D25B7600E5}" dt="2023-10-11T07:19:42.104" v="1404" actId="1076"/>
          <ac:spMkLst>
            <pc:docMk/>
            <pc:sldMk cId="1678141314" sldId="300"/>
            <ac:spMk id="9" creationId="{82871FA5-B7BC-678A-D11C-53483BF4281C}"/>
          </ac:spMkLst>
        </pc:spChg>
        <pc:spChg chg="add mod">
          <ac:chgData name="Sreelesh Sreenivasan" userId="6ce93406-93cc-4d05-8cef-b5419bd8c87f" providerId="ADAL" clId="{E72384B4-68EF-4D23-AAEB-83D25B7600E5}" dt="2023-10-11T07:19:39.832" v="1403" actId="14100"/>
          <ac:spMkLst>
            <pc:docMk/>
            <pc:sldMk cId="1678141314" sldId="300"/>
            <ac:spMk id="10" creationId="{F7642B77-0182-0A97-6C92-8FBF4FB4C48E}"/>
          </ac:spMkLst>
        </pc:spChg>
        <pc:spChg chg="add mod">
          <ac:chgData name="Sreelesh Sreenivasan" userId="6ce93406-93cc-4d05-8cef-b5419bd8c87f" providerId="ADAL" clId="{E72384B4-68EF-4D23-AAEB-83D25B7600E5}" dt="2023-10-11T07:19:44.856" v="1405" actId="1076"/>
          <ac:spMkLst>
            <pc:docMk/>
            <pc:sldMk cId="1678141314" sldId="300"/>
            <ac:spMk id="11" creationId="{AA460DD8-3BD4-F095-9631-BA1D4D65E8F5}"/>
          </ac:spMkLst>
        </pc:spChg>
        <pc:graphicFrameChg chg="add mod modVis replST">
          <ac:chgData name="Sreelesh Sreenivasan" userId="6ce93406-93cc-4d05-8cef-b5419bd8c87f" providerId="ADAL" clId="{E72384B4-68EF-4D23-AAEB-83D25B7600E5}" dt="2023-10-11T06:53:28.345" v="1252"/>
          <ac:graphicFrameMkLst>
            <pc:docMk/>
            <pc:sldMk cId="1678141314" sldId="300"/>
            <ac:graphicFrameMk id="4" creationId="{702A347C-06D7-9BEC-B255-98DE25D596C5}"/>
          </ac:graphicFrameMkLst>
        </pc:graphicFrameChg>
        <pc:picChg chg="add del mod">
          <ac:chgData name="Sreelesh Sreenivasan" userId="6ce93406-93cc-4d05-8cef-b5419bd8c87f" providerId="ADAL" clId="{E72384B4-68EF-4D23-AAEB-83D25B7600E5}" dt="2023-10-11T06:52:29.945" v="1188" actId="478"/>
          <ac:picMkLst>
            <pc:docMk/>
            <pc:sldMk cId="1678141314" sldId="300"/>
            <ac:picMk id="2" creationId="{090F3172-AE37-8471-0F85-69F37A1F8B3C}"/>
          </ac:picMkLst>
        </pc:picChg>
        <pc:picChg chg="add mod">
          <ac:chgData name="Sreelesh Sreenivasan" userId="6ce93406-93cc-4d05-8cef-b5419bd8c87f" providerId="ADAL" clId="{E72384B4-68EF-4D23-AAEB-83D25B7600E5}" dt="2023-10-11T06:53:01.428" v="1197" actId="1076"/>
          <ac:picMkLst>
            <pc:docMk/>
            <pc:sldMk cId="1678141314" sldId="300"/>
            <ac:picMk id="1026" creationId="{6B710347-2C5C-9797-80B8-5118A25B0534}"/>
          </ac:picMkLst>
        </pc:picChg>
        <pc:picChg chg="add mod">
          <ac:chgData name="Sreelesh Sreenivasan" userId="6ce93406-93cc-4d05-8cef-b5419bd8c87f" providerId="ADAL" clId="{E72384B4-68EF-4D23-AAEB-83D25B7600E5}" dt="2023-10-11T06:53:15.629" v="1203" actId="14100"/>
          <ac:picMkLst>
            <pc:docMk/>
            <pc:sldMk cId="1678141314" sldId="300"/>
            <ac:picMk id="1028" creationId="{88639BDF-C902-BC35-16A0-3EF684A8698D}"/>
          </ac:picMkLst>
        </pc:picChg>
        <pc:picChg chg="add mod">
          <ac:chgData name="Sreelesh Sreenivasan" userId="6ce93406-93cc-4d05-8cef-b5419bd8c87f" providerId="ADAL" clId="{E72384B4-68EF-4D23-AAEB-83D25B7600E5}" dt="2023-10-11T06:53:20.284" v="1206" actId="14100"/>
          <ac:picMkLst>
            <pc:docMk/>
            <pc:sldMk cId="1678141314" sldId="300"/>
            <ac:picMk id="1030" creationId="{2A266EC5-3D19-3D5E-76CE-7CEE22C0E3A2}"/>
          </ac:picMkLst>
        </pc:picChg>
        <pc:picChg chg="add del mod">
          <ac:chgData name="Sreelesh Sreenivasan" userId="6ce93406-93cc-4d05-8cef-b5419bd8c87f" providerId="ADAL" clId="{E72384B4-68EF-4D23-AAEB-83D25B7600E5}" dt="2023-10-11T06:52:29.399" v="1187" actId="478"/>
          <ac:picMkLst>
            <pc:docMk/>
            <pc:sldMk cId="1678141314" sldId="300"/>
            <ac:picMk id="5122" creationId="{44A6013A-2248-E1C3-1637-22D32C4C8C72}"/>
          </ac:picMkLst>
        </pc:picChg>
        <pc:picChg chg="add del mod">
          <ac:chgData name="Sreelesh Sreenivasan" userId="6ce93406-93cc-4d05-8cef-b5419bd8c87f" providerId="ADAL" clId="{E72384B4-68EF-4D23-AAEB-83D25B7600E5}" dt="2023-10-11T06:52:28.684" v="1186" actId="478"/>
          <ac:picMkLst>
            <pc:docMk/>
            <pc:sldMk cId="1678141314" sldId="300"/>
            <ac:picMk id="5124" creationId="{6B67E676-AEA7-59DD-C28F-6987EB0CCBD9}"/>
          </ac:picMkLst>
        </pc:picChg>
      </pc:sldChg>
      <pc:sldChg chg="addSp delSp modSp new add mod">
        <pc:chgData name="Sreelesh Sreenivasan" userId="6ce93406-93cc-4d05-8cef-b5419bd8c87f" providerId="ADAL" clId="{E72384B4-68EF-4D23-AAEB-83D25B7600E5}" dt="2023-10-11T07:20:04.614" v="1411" actId="1076"/>
        <pc:sldMkLst>
          <pc:docMk/>
          <pc:sldMk cId="547563425" sldId="301"/>
        </pc:sldMkLst>
        <pc:spChg chg="del">
          <ac:chgData name="Sreelesh Sreenivasan" userId="6ce93406-93cc-4d05-8cef-b5419bd8c87f" providerId="ADAL" clId="{E72384B4-68EF-4D23-AAEB-83D25B7600E5}" dt="2023-10-11T03:35:52.673" v="484" actId="478"/>
          <ac:spMkLst>
            <pc:docMk/>
            <pc:sldMk cId="547563425" sldId="301"/>
            <ac:spMk id="2" creationId="{59CF6127-3222-77AC-292F-23AA168010CC}"/>
          </ac:spMkLst>
        </pc:spChg>
        <pc:spChg chg="add mod">
          <ac:chgData name="Sreelesh Sreenivasan" userId="6ce93406-93cc-4d05-8cef-b5419bd8c87f" providerId="ADAL" clId="{E72384B4-68EF-4D23-AAEB-83D25B7600E5}" dt="2023-10-11T07:17:10.994" v="1281"/>
          <ac:spMkLst>
            <pc:docMk/>
            <pc:sldMk cId="547563425" sldId="301"/>
            <ac:spMk id="2" creationId="{7D65B526-3ECE-98DE-4873-CE7107847985}"/>
          </ac:spMkLst>
        </pc:spChg>
        <pc:spChg chg="add mod">
          <ac:chgData name="Sreelesh Sreenivasan" userId="6ce93406-93cc-4d05-8cef-b5419bd8c87f" providerId="ADAL" clId="{E72384B4-68EF-4D23-AAEB-83D25B7600E5}" dt="2023-10-11T07:19:54.899" v="1408" actId="1076"/>
          <ac:spMkLst>
            <pc:docMk/>
            <pc:sldMk cId="547563425" sldId="301"/>
            <ac:spMk id="3" creationId="{226F0EDF-5A86-4FF2-1994-C8CC0670495D}"/>
          </ac:spMkLst>
        </pc:spChg>
        <pc:spChg chg="del">
          <ac:chgData name="Sreelesh Sreenivasan" userId="6ce93406-93cc-4d05-8cef-b5419bd8c87f" providerId="ADAL" clId="{E72384B4-68EF-4D23-AAEB-83D25B7600E5}" dt="2023-10-11T03:35:52.170" v="483" actId="478"/>
          <ac:spMkLst>
            <pc:docMk/>
            <pc:sldMk cId="547563425" sldId="301"/>
            <ac:spMk id="3" creationId="{6DC62439-F1A5-9036-D080-F62EFF9DFA44}"/>
          </ac:spMkLst>
        </pc:spChg>
        <pc:spChg chg="add mod">
          <ac:chgData name="Sreelesh Sreenivasan" userId="6ce93406-93cc-4d05-8cef-b5419bd8c87f" providerId="ADAL" clId="{E72384B4-68EF-4D23-AAEB-83D25B7600E5}" dt="2023-10-11T07:18:02.272" v="1317"/>
          <ac:spMkLst>
            <pc:docMk/>
            <pc:sldMk cId="547563425" sldId="301"/>
            <ac:spMk id="5" creationId="{6729CC72-25C9-3D06-DFDE-00BC1EC4EBBB}"/>
          </ac:spMkLst>
        </pc:spChg>
        <pc:spChg chg="add mod">
          <ac:chgData name="Sreelesh Sreenivasan" userId="6ce93406-93cc-4d05-8cef-b5419bd8c87f" providerId="ADAL" clId="{E72384B4-68EF-4D23-AAEB-83D25B7600E5}" dt="2023-10-11T07:20:04.614" v="1411" actId="1076"/>
          <ac:spMkLst>
            <pc:docMk/>
            <pc:sldMk cId="547563425" sldId="301"/>
            <ac:spMk id="6" creationId="{D480B2B1-38D8-C6DC-51CF-C3CB01DEEEAB}"/>
          </ac:spMkLst>
        </pc:spChg>
        <pc:spChg chg="add mod">
          <ac:chgData name="Sreelesh Sreenivasan" userId="6ce93406-93cc-4d05-8cef-b5419bd8c87f" providerId="ADAL" clId="{E72384B4-68EF-4D23-AAEB-83D25B7600E5}" dt="2023-10-11T07:20:02.261" v="1410" actId="1076"/>
          <ac:spMkLst>
            <pc:docMk/>
            <pc:sldMk cId="547563425" sldId="301"/>
            <ac:spMk id="7" creationId="{A9D6B850-A313-5A78-4FD2-C518D6ED79AB}"/>
          </ac:spMkLst>
        </pc:spChg>
        <pc:graphicFrameChg chg="add mod modVis replST">
          <ac:chgData name="Sreelesh Sreenivasan" userId="6ce93406-93cc-4d05-8cef-b5419bd8c87f" providerId="ADAL" clId="{E72384B4-68EF-4D23-AAEB-83D25B7600E5}" dt="2023-10-11T03:35:53.266" v="500"/>
          <ac:graphicFrameMkLst>
            <pc:docMk/>
            <pc:sldMk cId="547563425" sldId="301"/>
            <ac:graphicFrameMk id="4" creationId="{C664C1CF-87DE-0771-19F8-95499784B9B6}"/>
          </ac:graphicFrameMkLst>
        </pc:graphicFrameChg>
        <pc:picChg chg="add mod">
          <ac:chgData name="Sreelesh Sreenivasan" userId="6ce93406-93cc-4d05-8cef-b5419bd8c87f" providerId="ADAL" clId="{E72384B4-68EF-4D23-AAEB-83D25B7600E5}" dt="2023-10-11T07:17:38.289" v="1292" actId="1076"/>
          <ac:picMkLst>
            <pc:docMk/>
            <pc:sldMk cId="547563425" sldId="301"/>
            <ac:picMk id="6146" creationId="{AD447DF6-80C0-4F16-9453-E53FC45F9621}"/>
          </ac:picMkLst>
        </pc:picChg>
        <pc:picChg chg="add mod">
          <ac:chgData name="Sreelesh Sreenivasan" userId="6ce93406-93cc-4d05-8cef-b5419bd8c87f" providerId="ADAL" clId="{E72384B4-68EF-4D23-AAEB-83D25B7600E5}" dt="2023-10-11T07:17:32.129" v="1288" actId="1076"/>
          <ac:picMkLst>
            <pc:docMk/>
            <pc:sldMk cId="547563425" sldId="301"/>
            <ac:picMk id="6148" creationId="{145453A9-4E9C-0593-B5AC-259AF592E5BA}"/>
          </ac:picMkLst>
        </pc:picChg>
      </pc:sldChg>
      <pc:sldChg chg="addSp delSp modSp new add del mod">
        <pc:chgData name="Sreelesh Sreenivasan" userId="6ce93406-93cc-4d05-8cef-b5419bd8c87f" providerId="ADAL" clId="{E72384B4-68EF-4D23-AAEB-83D25B7600E5}" dt="2023-10-11T07:17:14.988" v="1282" actId="47"/>
        <pc:sldMkLst>
          <pc:docMk/>
          <pc:sldMk cId="3125301823" sldId="302"/>
        </pc:sldMkLst>
        <pc:spChg chg="del">
          <ac:chgData name="Sreelesh Sreenivasan" userId="6ce93406-93cc-4d05-8cef-b5419bd8c87f" providerId="ADAL" clId="{E72384B4-68EF-4D23-AAEB-83D25B7600E5}" dt="2023-10-11T03:36:20.490" v="511" actId="478"/>
          <ac:spMkLst>
            <pc:docMk/>
            <pc:sldMk cId="3125301823" sldId="302"/>
            <ac:spMk id="2" creationId="{7FF375E8-39E6-8319-700E-669C37B034C0}"/>
          </ac:spMkLst>
        </pc:spChg>
        <pc:spChg chg="del">
          <ac:chgData name="Sreelesh Sreenivasan" userId="6ce93406-93cc-4d05-8cef-b5419bd8c87f" providerId="ADAL" clId="{E72384B4-68EF-4D23-AAEB-83D25B7600E5}" dt="2023-10-11T03:36:21.287" v="530" actId="478"/>
          <ac:spMkLst>
            <pc:docMk/>
            <pc:sldMk cId="3125301823" sldId="302"/>
            <ac:spMk id="3" creationId="{C608DFD9-B112-5281-6074-D6F69567381A}"/>
          </ac:spMkLst>
        </pc:spChg>
        <pc:spChg chg="add del">
          <ac:chgData name="Sreelesh Sreenivasan" userId="6ce93406-93cc-4d05-8cef-b5419bd8c87f" providerId="ADAL" clId="{E72384B4-68EF-4D23-AAEB-83D25B7600E5}" dt="2023-10-11T03:36:23.557" v="532"/>
          <ac:spMkLst>
            <pc:docMk/>
            <pc:sldMk cId="3125301823" sldId="302"/>
            <ac:spMk id="5" creationId="{D8AC6B7D-2BA5-EC31-C96C-B2759B87F04B}"/>
          </ac:spMkLst>
        </pc:spChg>
        <pc:spChg chg="add del mod">
          <ac:chgData name="Sreelesh Sreenivasan" userId="6ce93406-93cc-4d05-8cef-b5419bd8c87f" providerId="ADAL" clId="{E72384B4-68EF-4D23-AAEB-83D25B7600E5}" dt="2023-10-11T03:36:33.737" v="536" actId="478"/>
          <ac:spMkLst>
            <pc:docMk/>
            <pc:sldMk cId="3125301823" sldId="302"/>
            <ac:spMk id="6" creationId="{269B64D1-7D5C-4C30-6737-A2053F4F51A4}"/>
          </ac:spMkLst>
        </pc:spChg>
        <pc:spChg chg="add del">
          <ac:chgData name="Sreelesh Sreenivasan" userId="6ce93406-93cc-4d05-8cef-b5419bd8c87f" providerId="ADAL" clId="{E72384B4-68EF-4D23-AAEB-83D25B7600E5}" dt="2023-10-11T03:36:29.109" v="535"/>
          <ac:spMkLst>
            <pc:docMk/>
            <pc:sldMk cId="3125301823" sldId="302"/>
            <ac:spMk id="7" creationId="{4B2D946D-EE91-C46B-6A49-D9BFE189F279}"/>
          </ac:spMkLst>
        </pc:spChg>
        <pc:spChg chg="add mod">
          <ac:chgData name="Sreelesh Sreenivasan" userId="6ce93406-93cc-4d05-8cef-b5419bd8c87f" providerId="ADAL" clId="{E72384B4-68EF-4D23-AAEB-83D25B7600E5}" dt="2023-10-11T03:36:37.272" v="539" actId="1076"/>
          <ac:spMkLst>
            <pc:docMk/>
            <pc:sldMk cId="3125301823" sldId="302"/>
            <ac:spMk id="9" creationId="{30FDD85D-7CE3-6BAB-984E-FB7A355E8BE1}"/>
          </ac:spMkLst>
        </pc:spChg>
        <pc:graphicFrameChg chg="add mod ord modVis replST">
          <ac:chgData name="Sreelesh Sreenivasan" userId="6ce93406-93cc-4d05-8cef-b5419bd8c87f" providerId="ADAL" clId="{E72384B4-68EF-4D23-AAEB-83D25B7600E5}" dt="2023-10-11T03:36:21.052" v="529"/>
          <ac:graphicFrameMkLst>
            <pc:docMk/>
            <pc:sldMk cId="3125301823" sldId="302"/>
            <ac:graphicFrameMk id="4" creationId="{CA240077-49C5-8FE5-FC34-972C149E7051}"/>
          </ac:graphicFrameMkLst>
        </pc:graphicFrameChg>
      </pc:sldChg>
      <pc:sldChg chg="addSp delSp modSp new add mod">
        <pc:chgData name="Sreelesh Sreenivasan" userId="6ce93406-93cc-4d05-8cef-b5419bd8c87f" providerId="ADAL" clId="{E72384B4-68EF-4D23-AAEB-83D25B7600E5}" dt="2023-10-11T07:19:01.268" v="1400" actId="20577"/>
        <pc:sldMkLst>
          <pc:docMk/>
          <pc:sldMk cId="1554166571" sldId="303"/>
        </pc:sldMkLst>
        <pc:spChg chg="del">
          <ac:chgData name="Sreelesh Sreenivasan" userId="6ce93406-93cc-4d05-8cef-b5419bd8c87f" providerId="ADAL" clId="{E72384B4-68EF-4D23-AAEB-83D25B7600E5}" dt="2023-10-11T03:36:45.206" v="543" actId="478"/>
          <ac:spMkLst>
            <pc:docMk/>
            <pc:sldMk cId="1554166571" sldId="303"/>
            <ac:spMk id="2" creationId="{8E372A12-3386-64C3-744A-70215F250AD0}"/>
          </ac:spMkLst>
        </pc:spChg>
        <pc:spChg chg="add mod">
          <ac:chgData name="Sreelesh Sreenivasan" userId="6ce93406-93cc-4d05-8cef-b5419bd8c87f" providerId="ADAL" clId="{E72384B4-68EF-4D23-AAEB-83D25B7600E5}" dt="2023-10-11T07:18:33.667" v="1344" actId="948"/>
          <ac:spMkLst>
            <pc:docMk/>
            <pc:sldMk cId="1554166571" sldId="303"/>
            <ac:spMk id="2" creationId="{9EE5F5C4-5255-A4DD-DD9C-10CA70D8373B}"/>
          </ac:spMkLst>
        </pc:spChg>
        <pc:spChg chg="add del mod modVis">
          <ac:chgData name="Sreelesh Sreenivasan" userId="6ce93406-93cc-4d05-8cef-b5419bd8c87f" providerId="ADAL" clId="{E72384B4-68EF-4D23-AAEB-83D25B7600E5}" dt="2023-10-11T07:18:33.731" v="1385"/>
          <ac:spMkLst>
            <pc:docMk/>
            <pc:sldMk cId="1554166571" sldId="303"/>
            <ac:spMk id="3" creationId="{9E97F509-786E-994D-B065-E1CC6CCFC331}"/>
          </ac:spMkLst>
        </pc:spChg>
        <pc:spChg chg="del">
          <ac:chgData name="Sreelesh Sreenivasan" userId="6ce93406-93cc-4d05-8cef-b5419bd8c87f" providerId="ADAL" clId="{E72384B4-68EF-4D23-AAEB-83D25B7600E5}" dt="2023-10-11T03:36:43.992" v="542" actId="478"/>
          <ac:spMkLst>
            <pc:docMk/>
            <pc:sldMk cId="1554166571" sldId="303"/>
            <ac:spMk id="3" creationId="{B3F908E5-206E-C57D-1E6C-0030FE8C07D9}"/>
          </ac:spMkLst>
        </pc:spChg>
        <pc:spChg chg="add mod">
          <ac:chgData name="Sreelesh Sreenivasan" userId="6ce93406-93cc-4d05-8cef-b5419bd8c87f" providerId="ADAL" clId="{E72384B4-68EF-4D23-AAEB-83D25B7600E5}" dt="2023-10-11T07:19:01.268" v="1400" actId="20577"/>
          <ac:spMkLst>
            <pc:docMk/>
            <pc:sldMk cId="1554166571" sldId="303"/>
            <ac:spMk id="5" creationId="{31268A8D-235F-21A9-649C-40F83828598D}"/>
          </ac:spMkLst>
        </pc:spChg>
        <pc:graphicFrameChg chg="add mod modVis replST">
          <ac:chgData name="Sreelesh Sreenivasan" userId="6ce93406-93cc-4d05-8cef-b5419bd8c87f" providerId="ADAL" clId="{E72384B4-68EF-4D23-AAEB-83D25B7600E5}" dt="2023-10-11T07:18:33.733" v="1387"/>
          <ac:graphicFrameMkLst>
            <pc:docMk/>
            <pc:sldMk cId="1554166571" sldId="303"/>
            <ac:graphicFrameMk id="4" creationId="{FCEA71EB-569F-999B-0314-072109212683}"/>
          </ac:graphicFrameMkLst>
        </pc:graphicFrameChg>
        <pc:picChg chg="add mod">
          <ac:chgData name="Sreelesh Sreenivasan" userId="6ce93406-93cc-4d05-8cef-b5419bd8c87f" providerId="ADAL" clId="{E72384B4-68EF-4D23-AAEB-83D25B7600E5}" dt="2023-10-11T07:18:37.175" v="1389" actId="1076"/>
          <ac:picMkLst>
            <pc:docMk/>
            <pc:sldMk cId="1554166571" sldId="303"/>
            <ac:picMk id="8194" creationId="{D9A45A69-C4DA-329F-5F00-62EAAF072724}"/>
          </ac:picMkLst>
        </pc:picChg>
      </pc:sldChg>
      <pc:sldChg chg="modSp new add del mod">
        <pc:chgData name="Sreelesh Sreenivasan" userId="6ce93406-93cc-4d05-8cef-b5419bd8c87f" providerId="ADAL" clId="{E72384B4-68EF-4D23-AAEB-83D25B7600E5}" dt="2023-10-11T07:19:08.143" v="1401" actId="47"/>
        <pc:sldMkLst>
          <pc:docMk/>
          <pc:sldMk cId="3745571970" sldId="304"/>
        </pc:sldMkLst>
        <pc:spChg chg="mod">
          <ac:chgData name="Sreelesh Sreenivasan" userId="6ce93406-93cc-4d05-8cef-b5419bd8c87f" providerId="ADAL" clId="{E72384B4-68EF-4D23-AAEB-83D25B7600E5}" dt="2023-10-11T03:37:02.657" v="567"/>
          <ac:spMkLst>
            <pc:docMk/>
            <pc:sldMk cId="3745571970" sldId="304"/>
            <ac:spMk id="3" creationId="{F1F46742-8745-C4D4-65C9-BC7B5D11F044}"/>
          </ac:spMkLst>
        </pc:spChg>
      </pc:sldChg>
      <pc:sldChg chg="addSp delSp modSp new add del mod">
        <pc:chgData name="Sreelesh Sreenivasan" userId="6ce93406-93cc-4d05-8cef-b5419bd8c87f" providerId="ADAL" clId="{E72384B4-68EF-4D23-AAEB-83D25B7600E5}" dt="2023-10-11T06:40:23.842" v="656" actId="47"/>
        <pc:sldMkLst>
          <pc:docMk/>
          <pc:sldMk cId="3831703205" sldId="305"/>
        </pc:sldMkLst>
        <pc:spChg chg="add mod">
          <ac:chgData name="Sreelesh Sreenivasan" userId="6ce93406-93cc-4d05-8cef-b5419bd8c87f" providerId="ADAL" clId="{E72384B4-68EF-4D23-AAEB-83D25B7600E5}" dt="2023-10-11T06:31:01.023" v="630"/>
          <ac:spMkLst>
            <pc:docMk/>
            <pc:sldMk cId="3831703205" sldId="305"/>
            <ac:spMk id="2" creationId="{4D3C0513-6519-0392-B41B-AF502A501E3B}"/>
          </ac:spMkLst>
        </pc:spChg>
        <pc:spChg chg="del mod">
          <ac:chgData name="Sreelesh Sreenivasan" userId="6ce93406-93cc-4d05-8cef-b5419bd8c87f" providerId="ADAL" clId="{E72384B4-68EF-4D23-AAEB-83D25B7600E5}" dt="2023-10-11T03:56:45.094" v="613" actId="478"/>
          <ac:spMkLst>
            <pc:docMk/>
            <pc:sldMk cId="3831703205" sldId="305"/>
            <ac:spMk id="2" creationId="{9A84D641-5E62-D30C-1491-E004BFE2BF88}"/>
          </ac:spMkLst>
        </pc:spChg>
        <pc:spChg chg="add mod">
          <ac:chgData name="Sreelesh Sreenivasan" userId="6ce93406-93cc-4d05-8cef-b5419bd8c87f" providerId="ADAL" clId="{E72384B4-68EF-4D23-AAEB-83D25B7600E5}" dt="2023-10-11T06:31:08.022" v="631"/>
          <ac:spMkLst>
            <pc:docMk/>
            <pc:sldMk cId="3831703205" sldId="305"/>
            <ac:spMk id="3" creationId="{28C38D8B-D715-1833-F3FA-974C6F36C455}"/>
          </ac:spMkLst>
        </pc:spChg>
        <pc:spChg chg="del">
          <ac:chgData name="Sreelesh Sreenivasan" userId="6ce93406-93cc-4d05-8cef-b5419bd8c87f" providerId="ADAL" clId="{E72384B4-68EF-4D23-AAEB-83D25B7600E5}" dt="2023-10-11T03:56:43.719" v="611" actId="478"/>
          <ac:spMkLst>
            <pc:docMk/>
            <pc:sldMk cId="3831703205" sldId="305"/>
            <ac:spMk id="3" creationId="{314B4394-EAD7-199B-2E9B-6D098BEAF56D}"/>
          </ac:spMkLst>
        </pc:spChg>
        <pc:spChg chg="add mod">
          <ac:chgData name="Sreelesh Sreenivasan" userId="6ce93406-93cc-4d05-8cef-b5419bd8c87f" providerId="ADAL" clId="{E72384B4-68EF-4D23-AAEB-83D25B7600E5}" dt="2023-10-11T06:31:08.022" v="631"/>
          <ac:spMkLst>
            <pc:docMk/>
            <pc:sldMk cId="3831703205" sldId="305"/>
            <ac:spMk id="5" creationId="{5CDFF15B-7E09-3CB2-17FE-6FB9E8AFA685}"/>
          </ac:spMkLst>
        </pc:spChg>
        <pc:spChg chg="add mod">
          <ac:chgData name="Sreelesh Sreenivasan" userId="6ce93406-93cc-4d05-8cef-b5419bd8c87f" providerId="ADAL" clId="{E72384B4-68EF-4D23-AAEB-83D25B7600E5}" dt="2023-10-11T06:31:08.022" v="631"/>
          <ac:spMkLst>
            <pc:docMk/>
            <pc:sldMk cId="3831703205" sldId="305"/>
            <ac:spMk id="6" creationId="{D8CA17C6-D302-0DDC-9F31-32214CA52376}"/>
          </ac:spMkLst>
        </pc:spChg>
        <pc:spChg chg="add mod">
          <ac:chgData name="Sreelesh Sreenivasan" userId="6ce93406-93cc-4d05-8cef-b5419bd8c87f" providerId="ADAL" clId="{E72384B4-68EF-4D23-AAEB-83D25B7600E5}" dt="2023-10-11T06:31:08.022" v="631"/>
          <ac:spMkLst>
            <pc:docMk/>
            <pc:sldMk cId="3831703205" sldId="305"/>
            <ac:spMk id="7" creationId="{C98F998A-4183-128D-C06B-EAB1885FEB89}"/>
          </ac:spMkLst>
        </pc:spChg>
        <pc:spChg chg="add mod">
          <ac:chgData name="Sreelesh Sreenivasan" userId="6ce93406-93cc-4d05-8cef-b5419bd8c87f" providerId="ADAL" clId="{E72384B4-68EF-4D23-AAEB-83D25B7600E5}" dt="2023-10-11T06:31:08.022" v="631"/>
          <ac:spMkLst>
            <pc:docMk/>
            <pc:sldMk cId="3831703205" sldId="305"/>
            <ac:spMk id="8" creationId="{1B7FED20-004B-BDEC-2C13-E3187C8C36BF}"/>
          </ac:spMkLst>
        </pc:spChg>
        <pc:spChg chg="add mod">
          <ac:chgData name="Sreelesh Sreenivasan" userId="6ce93406-93cc-4d05-8cef-b5419bd8c87f" providerId="ADAL" clId="{E72384B4-68EF-4D23-AAEB-83D25B7600E5}" dt="2023-10-11T06:31:08.022" v="631"/>
          <ac:spMkLst>
            <pc:docMk/>
            <pc:sldMk cId="3831703205" sldId="305"/>
            <ac:spMk id="9" creationId="{48BA29BC-D4F5-E507-CDCF-01AF32958E9C}"/>
          </ac:spMkLst>
        </pc:spChg>
        <pc:spChg chg="add mod">
          <ac:chgData name="Sreelesh Sreenivasan" userId="6ce93406-93cc-4d05-8cef-b5419bd8c87f" providerId="ADAL" clId="{E72384B4-68EF-4D23-AAEB-83D25B7600E5}" dt="2023-10-11T06:31:08.022" v="631"/>
          <ac:spMkLst>
            <pc:docMk/>
            <pc:sldMk cId="3831703205" sldId="305"/>
            <ac:spMk id="10" creationId="{629ADF30-4F24-390E-C6E6-8DC52EB40B87}"/>
          </ac:spMkLst>
        </pc:spChg>
        <pc:spChg chg="add mod">
          <ac:chgData name="Sreelesh Sreenivasan" userId="6ce93406-93cc-4d05-8cef-b5419bd8c87f" providerId="ADAL" clId="{E72384B4-68EF-4D23-AAEB-83D25B7600E5}" dt="2023-10-11T06:31:08.022" v="631"/>
          <ac:spMkLst>
            <pc:docMk/>
            <pc:sldMk cId="3831703205" sldId="305"/>
            <ac:spMk id="11" creationId="{5F41E301-C07D-927E-6E65-03492C397D15}"/>
          </ac:spMkLst>
        </pc:spChg>
        <pc:spChg chg="add mod">
          <ac:chgData name="Sreelesh Sreenivasan" userId="6ce93406-93cc-4d05-8cef-b5419bd8c87f" providerId="ADAL" clId="{E72384B4-68EF-4D23-AAEB-83D25B7600E5}" dt="2023-10-11T06:31:08.022" v="631"/>
          <ac:spMkLst>
            <pc:docMk/>
            <pc:sldMk cId="3831703205" sldId="305"/>
            <ac:spMk id="12" creationId="{8E4770EE-BD6C-EC23-700F-91DE08D954E8}"/>
          </ac:spMkLst>
        </pc:spChg>
        <pc:spChg chg="mod">
          <ac:chgData name="Sreelesh Sreenivasan" userId="6ce93406-93cc-4d05-8cef-b5419bd8c87f" providerId="ADAL" clId="{E72384B4-68EF-4D23-AAEB-83D25B7600E5}" dt="2023-10-11T06:31:08.022" v="631"/>
          <ac:spMkLst>
            <pc:docMk/>
            <pc:sldMk cId="3831703205" sldId="305"/>
            <ac:spMk id="14" creationId="{AE08D8C5-EFC6-5555-4BE6-C7F4A8EEB243}"/>
          </ac:spMkLst>
        </pc:spChg>
        <pc:spChg chg="mod">
          <ac:chgData name="Sreelesh Sreenivasan" userId="6ce93406-93cc-4d05-8cef-b5419bd8c87f" providerId="ADAL" clId="{E72384B4-68EF-4D23-AAEB-83D25B7600E5}" dt="2023-10-11T06:31:08.022" v="631"/>
          <ac:spMkLst>
            <pc:docMk/>
            <pc:sldMk cId="3831703205" sldId="305"/>
            <ac:spMk id="15" creationId="{0C01D406-EE92-4476-1AF8-828474177975}"/>
          </ac:spMkLst>
        </pc:spChg>
        <pc:spChg chg="mod">
          <ac:chgData name="Sreelesh Sreenivasan" userId="6ce93406-93cc-4d05-8cef-b5419bd8c87f" providerId="ADAL" clId="{E72384B4-68EF-4D23-AAEB-83D25B7600E5}" dt="2023-10-11T06:31:08.022" v="631"/>
          <ac:spMkLst>
            <pc:docMk/>
            <pc:sldMk cId="3831703205" sldId="305"/>
            <ac:spMk id="17" creationId="{546A4B19-F9CF-180E-4EEA-699EF12F7D48}"/>
          </ac:spMkLst>
        </pc:spChg>
        <pc:spChg chg="mod">
          <ac:chgData name="Sreelesh Sreenivasan" userId="6ce93406-93cc-4d05-8cef-b5419bd8c87f" providerId="ADAL" clId="{E72384B4-68EF-4D23-AAEB-83D25B7600E5}" dt="2023-10-11T06:31:08.022" v="631"/>
          <ac:spMkLst>
            <pc:docMk/>
            <pc:sldMk cId="3831703205" sldId="305"/>
            <ac:spMk id="18" creationId="{19BA3097-C486-E841-950C-4F1EFA4559A4}"/>
          </ac:spMkLst>
        </pc:spChg>
        <pc:spChg chg="mod">
          <ac:chgData name="Sreelesh Sreenivasan" userId="6ce93406-93cc-4d05-8cef-b5419bd8c87f" providerId="ADAL" clId="{E72384B4-68EF-4D23-AAEB-83D25B7600E5}" dt="2023-10-11T06:31:08.022" v="631"/>
          <ac:spMkLst>
            <pc:docMk/>
            <pc:sldMk cId="3831703205" sldId="305"/>
            <ac:spMk id="20" creationId="{04D9A2CA-11C0-A608-0CB6-C048AA49446D}"/>
          </ac:spMkLst>
        </pc:spChg>
        <pc:spChg chg="mod">
          <ac:chgData name="Sreelesh Sreenivasan" userId="6ce93406-93cc-4d05-8cef-b5419bd8c87f" providerId="ADAL" clId="{E72384B4-68EF-4D23-AAEB-83D25B7600E5}" dt="2023-10-11T06:31:08.022" v="631"/>
          <ac:spMkLst>
            <pc:docMk/>
            <pc:sldMk cId="3831703205" sldId="305"/>
            <ac:spMk id="21" creationId="{99C0D225-2BFB-5773-267A-1AB1F76C59C1}"/>
          </ac:spMkLst>
        </pc:spChg>
        <pc:spChg chg="mod">
          <ac:chgData name="Sreelesh Sreenivasan" userId="6ce93406-93cc-4d05-8cef-b5419bd8c87f" providerId="ADAL" clId="{E72384B4-68EF-4D23-AAEB-83D25B7600E5}" dt="2023-10-11T06:31:08.022" v="631"/>
          <ac:spMkLst>
            <pc:docMk/>
            <pc:sldMk cId="3831703205" sldId="305"/>
            <ac:spMk id="23" creationId="{74F0C7C3-4B25-6E84-5E3B-4F71C75E9808}"/>
          </ac:spMkLst>
        </pc:spChg>
        <pc:spChg chg="mod">
          <ac:chgData name="Sreelesh Sreenivasan" userId="6ce93406-93cc-4d05-8cef-b5419bd8c87f" providerId="ADAL" clId="{E72384B4-68EF-4D23-AAEB-83D25B7600E5}" dt="2023-10-11T06:31:08.022" v="631"/>
          <ac:spMkLst>
            <pc:docMk/>
            <pc:sldMk cId="3831703205" sldId="305"/>
            <ac:spMk id="24" creationId="{3177F9A4-6DBF-0782-EF2B-4AA6C8CEA50E}"/>
          </ac:spMkLst>
        </pc:spChg>
        <pc:spChg chg="mod">
          <ac:chgData name="Sreelesh Sreenivasan" userId="6ce93406-93cc-4d05-8cef-b5419bd8c87f" providerId="ADAL" clId="{E72384B4-68EF-4D23-AAEB-83D25B7600E5}" dt="2023-10-11T06:31:08.022" v="631"/>
          <ac:spMkLst>
            <pc:docMk/>
            <pc:sldMk cId="3831703205" sldId="305"/>
            <ac:spMk id="28" creationId="{57329615-88E0-6E67-D216-FA8BAC79E618}"/>
          </ac:spMkLst>
        </pc:spChg>
        <pc:spChg chg="mod">
          <ac:chgData name="Sreelesh Sreenivasan" userId="6ce93406-93cc-4d05-8cef-b5419bd8c87f" providerId="ADAL" clId="{E72384B4-68EF-4D23-AAEB-83D25B7600E5}" dt="2023-10-11T06:31:08.022" v="631"/>
          <ac:spMkLst>
            <pc:docMk/>
            <pc:sldMk cId="3831703205" sldId="305"/>
            <ac:spMk id="29" creationId="{496D3956-24CA-CF0D-A7B8-598AB4611F66}"/>
          </ac:spMkLst>
        </pc:spChg>
        <pc:spChg chg="mod">
          <ac:chgData name="Sreelesh Sreenivasan" userId="6ce93406-93cc-4d05-8cef-b5419bd8c87f" providerId="ADAL" clId="{E72384B4-68EF-4D23-AAEB-83D25B7600E5}" dt="2023-10-11T06:31:08.022" v="631"/>
          <ac:spMkLst>
            <pc:docMk/>
            <pc:sldMk cId="3831703205" sldId="305"/>
            <ac:spMk id="31" creationId="{610ADAE8-C0F4-A1DD-A7EC-E8B06EAABFDF}"/>
          </ac:spMkLst>
        </pc:spChg>
        <pc:spChg chg="mod">
          <ac:chgData name="Sreelesh Sreenivasan" userId="6ce93406-93cc-4d05-8cef-b5419bd8c87f" providerId="ADAL" clId="{E72384B4-68EF-4D23-AAEB-83D25B7600E5}" dt="2023-10-11T06:31:08.022" v="631"/>
          <ac:spMkLst>
            <pc:docMk/>
            <pc:sldMk cId="3831703205" sldId="305"/>
            <ac:spMk id="32" creationId="{6BFFB2A4-83F7-5599-092A-D12356DEF142}"/>
          </ac:spMkLst>
        </pc:spChg>
        <pc:spChg chg="mod">
          <ac:chgData name="Sreelesh Sreenivasan" userId="6ce93406-93cc-4d05-8cef-b5419bd8c87f" providerId="ADAL" clId="{E72384B4-68EF-4D23-AAEB-83D25B7600E5}" dt="2023-10-11T06:31:08.022" v="631"/>
          <ac:spMkLst>
            <pc:docMk/>
            <pc:sldMk cId="3831703205" sldId="305"/>
            <ac:spMk id="39" creationId="{E6699848-475F-C4DB-5FA4-1FF05720D6CE}"/>
          </ac:spMkLst>
        </pc:spChg>
        <pc:spChg chg="mod">
          <ac:chgData name="Sreelesh Sreenivasan" userId="6ce93406-93cc-4d05-8cef-b5419bd8c87f" providerId="ADAL" clId="{E72384B4-68EF-4D23-AAEB-83D25B7600E5}" dt="2023-10-11T06:31:08.022" v="631"/>
          <ac:spMkLst>
            <pc:docMk/>
            <pc:sldMk cId="3831703205" sldId="305"/>
            <ac:spMk id="40" creationId="{555446A9-6543-CB55-6303-554AF07FCFC3}"/>
          </ac:spMkLst>
        </pc:spChg>
        <pc:spChg chg="mod">
          <ac:chgData name="Sreelesh Sreenivasan" userId="6ce93406-93cc-4d05-8cef-b5419bd8c87f" providerId="ADAL" clId="{E72384B4-68EF-4D23-AAEB-83D25B7600E5}" dt="2023-10-11T06:31:08.022" v="631"/>
          <ac:spMkLst>
            <pc:docMk/>
            <pc:sldMk cId="3831703205" sldId="305"/>
            <ac:spMk id="42" creationId="{AE42B823-547D-38E7-C220-0F4F255D582C}"/>
          </ac:spMkLst>
        </pc:spChg>
        <pc:spChg chg="mod">
          <ac:chgData name="Sreelesh Sreenivasan" userId="6ce93406-93cc-4d05-8cef-b5419bd8c87f" providerId="ADAL" clId="{E72384B4-68EF-4D23-AAEB-83D25B7600E5}" dt="2023-10-11T06:31:08.022" v="631"/>
          <ac:spMkLst>
            <pc:docMk/>
            <pc:sldMk cId="3831703205" sldId="305"/>
            <ac:spMk id="43" creationId="{62B381A9-1048-09FB-25C5-7CC6E962E4B7}"/>
          </ac:spMkLst>
        </pc:spChg>
        <pc:spChg chg="mod">
          <ac:chgData name="Sreelesh Sreenivasan" userId="6ce93406-93cc-4d05-8cef-b5419bd8c87f" providerId="ADAL" clId="{E72384B4-68EF-4D23-AAEB-83D25B7600E5}" dt="2023-10-11T06:31:08.022" v="631"/>
          <ac:spMkLst>
            <pc:docMk/>
            <pc:sldMk cId="3831703205" sldId="305"/>
            <ac:spMk id="47" creationId="{79B5FCC6-C97A-3D0E-514F-5A89D947FB01}"/>
          </ac:spMkLst>
        </pc:spChg>
        <pc:spChg chg="mod">
          <ac:chgData name="Sreelesh Sreenivasan" userId="6ce93406-93cc-4d05-8cef-b5419bd8c87f" providerId="ADAL" clId="{E72384B4-68EF-4D23-AAEB-83D25B7600E5}" dt="2023-10-11T06:31:08.022" v="631"/>
          <ac:spMkLst>
            <pc:docMk/>
            <pc:sldMk cId="3831703205" sldId="305"/>
            <ac:spMk id="48" creationId="{2BE6C8F3-34F2-243B-84E3-636172B48AC5}"/>
          </ac:spMkLst>
        </pc:spChg>
        <pc:spChg chg="mod">
          <ac:chgData name="Sreelesh Sreenivasan" userId="6ce93406-93cc-4d05-8cef-b5419bd8c87f" providerId="ADAL" clId="{E72384B4-68EF-4D23-AAEB-83D25B7600E5}" dt="2023-10-11T06:31:08.022" v="631"/>
          <ac:spMkLst>
            <pc:docMk/>
            <pc:sldMk cId="3831703205" sldId="305"/>
            <ac:spMk id="50" creationId="{5DD36F66-E828-FA87-EFCD-6E2AE853571D}"/>
          </ac:spMkLst>
        </pc:spChg>
        <pc:spChg chg="mod">
          <ac:chgData name="Sreelesh Sreenivasan" userId="6ce93406-93cc-4d05-8cef-b5419bd8c87f" providerId="ADAL" clId="{E72384B4-68EF-4D23-AAEB-83D25B7600E5}" dt="2023-10-11T06:31:08.022" v="631"/>
          <ac:spMkLst>
            <pc:docMk/>
            <pc:sldMk cId="3831703205" sldId="305"/>
            <ac:spMk id="51" creationId="{7220E1C1-2035-693E-B619-8E96E229A140}"/>
          </ac:spMkLst>
        </pc:spChg>
        <pc:spChg chg="mod">
          <ac:chgData name="Sreelesh Sreenivasan" userId="6ce93406-93cc-4d05-8cef-b5419bd8c87f" providerId="ADAL" clId="{E72384B4-68EF-4D23-AAEB-83D25B7600E5}" dt="2023-10-11T06:31:08.022" v="631"/>
          <ac:spMkLst>
            <pc:docMk/>
            <pc:sldMk cId="3831703205" sldId="305"/>
            <ac:spMk id="53" creationId="{0739893E-BB1B-126F-50EA-A6F996E3A563}"/>
          </ac:spMkLst>
        </pc:spChg>
        <pc:spChg chg="mod">
          <ac:chgData name="Sreelesh Sreenivasan" userId="6ce93406-93cc-4d05-8cef-b5419bd8c87f" providerId="ADAL" clId="{E72384B4-68EF-4D23-AAEB-83D25B7600E5}" dt="2023-10-11T06:31:08.022" v="631"/>
          <ac:spMkLst>
            <pc:docMk/>
            <pc:sldMk cId="3831703205" sldId="305"/>
            <ac:spMk id="54" creationId="{D26AAF36-B401-79CA-C3C3-B36D2856CE2B}"/>
          </ac:spMkLst>
        </pc:spChg>
        <pc:spChg chg="mod">
          <ac:chgData name="Sreelesh Sreenivasan" userId="6ce93406-93cc-4d05-8cef-b5419bd8c87f" providerId="ADAL" clId="{E72384B4-68EF-4D23-AAEB-83D25B7600E5}" dt="2023-10-11T06:31:08.022" v="631"/>
          <ac:spMkLst>
            <pc:docMk/>
            <pc:sldMk cId="3831703205" sldId="305"/>
            <ac:spMk id="56" creationId="{52CC451D-6255-A6B9-BE17-F1B1646C8468}"/>
          </ac:spMkLst>
        </pc:spChg>
        <pc:spChg chg="mod">
          <ac:chgData name="Sreelesh Sreenivasan" userId="6ce93406-93cc-4d05-8cef-b5419bd8c87f" providerId="ADAL" clId="{E72384B4-68EF-4D23-AAEB-83D25B7600E5}" dt="2023-10-11T06:31:08.022" v="631"/>
          <ac:spMkLst>
            <pc:docMk/>
            <pc:sldMk cId="3831703205" sldId="305"/>
            <ac:spMk id="57" creationId="{F4FB4E77-DE7A-1006-679C-960013BF4808}"/>
          </ac:spMkLst>
        </pc:spChg>
        <pc:spChg chg="mod">
          <ac:chgData name="Sreelesh Sreenivasan" userId="6ce93406-93cc-4d05-8cef-b5419bd8c87f" providerId="ADAL" clId="{E72384B4-68EF-4D23-AAEB-83D25B7600E5}" dt="2023-10-11T06:31:08.022" v="631"/>
          <ac:spMkLst>
            <pc:docMk/>
            <pc:sldMk cId="3831703205" sldId="305"/>
            <ac:spMk id="59" creationId="{AD06A957-7A60-6506-DCF2-BAAA71F2D9A9}"/>
          </ac:spMkLst>
        </pc:spChg>
        <pc:spChg chg="mod">
          <ac:chgData name="Sreelesh Sreenivasan" userId="6ce93406-93cc-4d05-8cef-b5419bd8c87f" providerId="ADAL" clId="{E72384B4-68EF-4D23-AAEB-83D25B7600E5}" dt="2023-10-11T06:31:08.022" v="631"/>
          <ac:spMkLst>
            <pc:docMk/>
            <pc:sldMk cId="3831703205" sldId="305"/>
            <ac:spMk id="60" creationId="{DF72558E-DA11-CC62-C9BC-700B57051266}"/>
          </ac:spMkLst>
        </pc:spChg>
        <pc:spChg chg="mod">
          <ac:chgData name="Sreelesh Sreenivasan" userId="6ce93406-93cc-4d05-8cef-b5419bd8c87f" providerId="ADAL" clId="{E72384B4-68EF-4D23-AAEB-83D25B7600E5}" dt="2023-10-11T06:31:08.022" v="631"/>
          <ac:spMkLst>
            <pc:docMk/>
            <pc:sldMk cId="3831703205" sldId="305"/>
            <ac:spMk id="62" creationId="{993A4933-5E1D-8BFB-2572-9994E6C3975B}"/>
          </ac:spMkLst>
        </pc:spChg>
        <pc:spChg chg="mod">
          <ac:chgData name="Sreelesh Sreenivasan" userId="6ce93406-93cc-4d05-8cef-b5419bd8c87f" providerId="ADAL" clId="{E72384B4-68EF-4D23-AAEB-83D25B7600E5}" dt="2023-10-11T06:31:08.022" v="631"/>
          <ac:spMkLst>
            <pc:docMk/>
            <pc:sldMk cId="3831703205" sldId="305"/>
            <ac:spMk id="63" creationId="{B95DD54B-3A63-C46A-0F1A-5858B930808B}"/>
          </ac:spMkLst>
        </pc:spChg>
        <pc:spChg chg="mod">
          <ac:chgData name="Sreelesh Sreenivasan" userId="6ce93406-93cc-4d05-8cef-b5419bd8c87f" providerId="ADAL" clId="{E72384B4-68EF-4D23-AAEB-83D25B7600E5}" dt="2023-10-11T06:31:08.022" v="631"/>
          <ac:spMkLst>
            <pc:docMk/>
            <pc:sldMk cId="3831703205" sldId="305"/>
            <ac:spMk id="65" creationId="{5090E079-0E50-6076-BABB-44D04AA201F0}"/>
          </ac:spMkLst>
        </pc:spChg>
        <pc:spChg chg="mod">
          <ac:chgData name="Sreelesh Sreenivasan" userId="6ce93406-93cc-4d05-8cef-b5419bd8c87f" providerId="ADAL" clId="{E72384B4-68EF-4D23-AAEB-83D25B7600E5}" dt="2023-10-11T06:31:08.022" v="631"/>
          <ac:spMkLst>
            <pc:docMk/>
            <pc:sldMk cId="3831703205" sldId="305"/>
            <ac:spMk id="66" creationId="{D56BFA19-98D2-6E84-BE41-CC5377C62441}"/>
          </ac:spMkLst>
        </pc:spChg>
        <pc:spChg chg="mod">
          <ac:chgData name="Sreelesh Sreenivasan" userId="6ce93406-93cc-4d05-8cef-b5419bd8c87f" providerId="ADAL" clId="{E72384B4-68EF-4D23-AAEB-83D25B7600E5}" dt="2023-10-11T06:31:08.022" v="631"/>
          <ac:spMkLst>
            <pc:docMk/>
            <pc:sldMk cId="3831703205" sldId="305"/>
            <ac:spMk id="68" creationId="{B11380E0-04AB-FD42-482E-15364AF11208}"/>
          </ac:spMkLst>
        </pc:spChg>
        <pc:spChg chg="mod">
          <ac:chgData name="Sreelesh Sreenivasan" userId="6ce93406-93cc-4d05-8cef-b5419bd8c87f" providerId="ADAL" clId="{E72384B4-68EF-4D23-AAEB-83D25B7600E5}" dt="2023-10-11T06:31:08.022" v="631"/>
          <ac:spMkLst>
            <pc:docMk/>
            <pc:sldMk cId="3831703205" sldId="305"/>
            <ac:spMk id="69" creationId="{A53DB435-F372-FEFE-A1B1-BFAEC5238979}"/>
          </ac:spMkLst>
        </pc:spChg>
        <pc:grpChg chg="add mod">
          <ac:chgData name="Sreelesh Sreenivasan" userId="6ce93406-93cc-4d05-8cef-b5419bd8c87f" providerId="ADAL" clId="{E72384B4-68EF-4D23-AAEB-83D25B7600E5}" dt="2023-10-11T06:31:08.022" v="631"/>
          <ac:grpSpMkLst>
            <pc:docMk/>
            <pc:sldMk cId="3831703205" sldId="305"/>
            <ac:grpSpMk id="13" creationId="{E9CFBC7F-ED4A-A287-3143-381248F66641}"/>
          </ac:grpSpMkLst>
        </pc:grpChg>
        <pc:grpChg chg="add mod">
          <ac:chgData name="Sreelesh Sreenivasan" userId="6ce93406-93cc-4d05-8cef-b5419bd8c87f" providerId="ADAL" clId="{E72384B4-68EF-4D23-AAEB-83D25B7600E5}" dt="2023-10-11T06:31:08.022" v="631"/>
          <ac:grpSpMkLst>
            <pc:docMk/>
            <pc:sldMk cId="3831703205" sldId="305"/>
            <ac:grpSpMk id="16" creationId="{3D5D64F6-8D89-4D60-E086-D956BCAEA261}"/>
          </ac:grpSpMkLst>
        </pc:grpChg>
        <pc:grpChg chg="add mod">
          <ac:chgData name="Sreelesh Sreenivasan" userId="6ce93406-93cc-4d05-8cef-b5419bd8c87f" providerId="ADAL" clId="{E72384B4-68EF-4D23-AAEB-83D25B7600E5}" dt="2023-10-11T06:31:08.022" v="631"/>
          <ac:grpSpMkLst>
            <pc:docMk/>
            <pc:sldMk cId="3831703205" sldId="305"/>
            <ac:grpSpMk id="19" creationId="{AE6AEBB3-79E2-3B7E-C214-81B09A543AB9}"/>
          </ac:grpSpMkLst>
        </pc:grpChg>
        <pc:grpChg chg="add mod">
          <ac:chgData name="Sreelesh Sreenivasan" userId="6ce93406-93cc-4d05-8cef-b5419bd8c87f" providerId="ADAL" clId="{E72384B4-68EF-4D23-AAEB-83D25B7600E5}" dt="2023-10-11T06:31:08.022" v="631"/>
          <ac:grpSpMkLst>
            <pc:docMk/>
            <pc:sldMk cId="3831703205" sldId="305"/>
            <ac:grpSpMk id="22" creationId="{66F0A302-D59F-45CC-A942-DE77A8B949C3}"/>
          </ac:grpSpMkLst>
        </pc:grpChg>
        <pc:grpChg chg="add mod">
          <ac:chgData name="Sreelesh Sreenivasan" userId="6ce93406-93cc-4d05-8cef-b5419bd8c87f" providerId="ADAL" clId="{E72384B4-68EF-4D23-AAEB-83D25B7600E5}" dt="2023-10-11T06:31:08.022" v="631"/>
          <ac:grpSpMkLst>
            <pc:docMk/>
            <pc:sldMk cId="3831703205" sldId="305"/>
            <ac:grpSpMk id="27" creationId="{A6DC002A-2968-0DAE-3390-31032D566893}"/>
          </ac:grpSpMkLst>
        </pc:grpChg>
        <pc:grpChg chg="add mod">
          <ac:chgData name="Sreelesh Sreenivasan" userId="6ce93406-93cc-4d05-8cef-b5419bd8c87f" providerId="ADAL" clId="{E72384B4-68EF-4D23-AAEB-83D25B7600E5}" dt="2023-10-11T06:31:08.022" v="631"/>
          <ac:grpSpMkLst>
            <pc:docMk/>
            <pc:sldMk cId="3831703205" sldId="305"/>
            <ac:grpSpMk id="30" creationId="{ED613DA9-6321-115F-4BA8-DBCA9FD99628}"/>
          </ac:grpSpMkLst>
        </pc:grpChg>
        <pc:grpChg chg="add mod">
          <ac:chgData name="Sreelesh Sreenivasan" userId="6ce93406-93cc-4d05-8cef-b5419bd8c87f" providerId="ADAL" clId="{E72384B4-68EF-4D23-AAEB-83D25B7600E5}" dt="2023-10-11T06:31:08.022" v="631"/>
          <ac:grpSpMkLst>
            <pc:docMk/>
            <pc:sldMk cId="3831703205" sldId="305"/>
            <ac:grpSpMk id="38" creationId="{CC6623B6-A59F-F71F-8295-40A36FE9C86C}"/>
          </ac:grpSpMkLst>
        </pc:grpChg>
        <pc:grpChg chg="add mod">
          <ac:chgData name="Sreelesh Sreenivasan" userId="6ce93406-93cc-4d05-8cef-b5419bd8c87f" providerId="ADAL" clId="{E72384B4-68EF-4D23-AAEB-83D25B7600E5}" dt="2023-10-11T06:31:08.022" v="631"/>
          <ac:grpSpMkLst>
            <pc:docMk/>
            <pc:sldMk cId="3831703205" sldId="305"/>
            <ac:grpSpMk id="41" creationId="{46FDBC87-CF6A-F5F5-FE07-0D2171319A50}"/>
          </ac:grpSpMkLst>
        </pc:grpChg>
        <pc:grpChg chg="add mod">
          <ac:chgData name="Sreelesh Sreenivasan" userId="6ce93406-93cc-4d05-8cef-b5419bd8c87f" providerId="ADAL" clId="{E72384B4-68EF-4D23-AAEB-83D25B7600E5}" dt="2023-10-11T06:31:08.022" v="631"/>
          <ac:grpSpMkLst>
            <pc:docMk/>
            <pc:sldMk cId="3831703205" sldId="305"/>
            <ac:grpSpMk id="46" creationId="{A6D6D094-5F8B-7AC0-0AAF-6F4A254A147D}"/>
          </ac:grpSpMkLst>
        </pc:grpChg>
        <pc:grpChg chg="add mod">
          <ac:chgData name="Sreelesh Sreenivasan" userId="6ce93406-93cc-4d05-8cef-b5419bd8c87f" providerId="ADAL" clId="{E72384B4-68EF-4D23-AAEB-83D25B7600E5}" dt="2023-10-11T06:31:08.022" v="631"/>
          <ac:grpSpMkLst>
            <pc:docMk/>
            <pc:sldMk cId="3831703205" sldId="305"/>
            <ac:grpSpMk id="49" creationId="{0A63886A-B031-005E-1321-162FA9CA4B41}"/>
          </ac:grpSpMkLst>
        </pc:grpChg>
        <pc:grpChg chg="add mod">
          <ac:chgData name="Sreelesh Sreenivasan" userId="6ce93406-93cc-4d05-8cef-b5419bd8c87f" providerId="ADAL" clId="{E72384B4-68EF-4D23-AAEB-83D25B7600E5}" dt="2023-10-11T06:31:08.022" v="631"/>
          <ac:grpSpMkLst>
            <pc:docMk/>
            <pc:sldMk cId="3831703205" sldId="305"/>
            <ac:grpSpMk id="52" creationId="{8AA9A3E8-5DF2-BBE8-3B7B-4D037054FAA8}"/>
          </ac:grpSpMkLst>
        </pc:grpChg>
        <pc:grpChg chg="add mod">
          <ac:chgData name="Sreelesh Sreenivasan" userId="6ce93406-93cc-4d05-8cef-b5419bd8c87f" providerId="ADAL" clId="{E72384B4-68EF-4D23-AAEB-83D25B7600E5}" dt="2023-10-11T06:31:08.022" v="631"/>
          <ac:grpSpMkLst>
            <pc:docMk/>
            <pc:sldMk cId="3831703205" sldId="305"/>
            <ac:grpSpMk id="55" creationId="{B68A07F9-1B55-8449-C3DB-7126BAFA980E}"/>
          </ac:grpSpMkLst>
        </pc:grpChg>
        <pc:grpChg chg="add mod">
          <ac:chgData name="Sreelesh Sreenivasan" userId="6ce93406-93cc-4d05-8cef-b5419bd8c87f" providerId="ADAL" clId="{E72384B4-68EF-4D23-AAEB-83D25B7600E5}" dt="2023-10-11T06:31:08.022" v="631"/>
          <ac:grpSpMkLst>
            <pc:docMk/>
            <pc:sldMk cId="3831703205" sldId="305"/>
            <ac:grpSpMk id="58" creationId="{DCFB2FC3-C7A6-C635-E30E-151D7C9FA555}"/>
          </ac:grpSpMkLst>
        </pc:grpChg>
        <pc:grpChg chg="add mod">
          <ac:chgData name="Sreelesh Sreenivasan" userId="6ce93406-93cc-4d05-8cef-b5419bd8c87f" providerId="ADAL" clId="{E72384B4-68EF-4D23-AAEB-83D25B7600E5}" dt="2023-10-11T06:31:08.022" v="631"/>
          <ac:grpSpMkLst>
            <pc:docMk/>
            <pc:sldMk cId="3831703205" sldId="305"/>
            <ac:grpSpMk id="61" creationId="{95F23605-3A17-625D-02E6-91D1AA887E78}"/>
          </ac:grpSpMkLst>
        </pc:grpChg>
        <pc:grpChg chg="add mod">
          <ac:chgData name="Sreelesh Sreenivasan" userId="6ce93406-93cc-4d05-8cef-b5419bd8c87f" providerId="ADAL" clId="{E72384B4-68EF-4D23-AAEB-83D25B7600E5}" dt="2023-10-11T06:31:08.022" v="631"/>
          <ac:grpSpMkLst>
            <pc:docMk/>
            <pc:sldMk cId="3831703205" sldId="305"/>
            <ac:grpSpMk id="64" creationId="{06BDF927-D1A6-296B-2E88-FD2EC5BA2EA1}"/>
          </ac:grpSpMkLst>
        </pc:grpChg>
        <pc:grpChg chg="add mod">
          <ac:chgData name="Sreelesh Sreenivasan" userId="6ce93406-93cc-4d05-8cef-b5419bd8c87f" providerId="ADAL" clId="{E72384B4-68EF-4D23-AAEB-83D25B7600E5}" dt="2023-10-11T06:31:08.022" v="631"/>
          <ac:grpSpMkLst>
            <pc:docMk/>
            <pc:sldMk cId="3831703205" sldId="305"/>
            <ac:grpSpMk id="67" creationId="{E4B43211-E967-3A43-3185-A191757A1CA5}"/>
          </ac:grpSpMkLst>
        </pc:grpChg>
        <pc:graphicFrameChg chg="add mod modVis replST">
          <ac:chgData name="Sreelesh Sreenivasan" userId="6ce93406-93cc-4d05-8cef-b5419bd8c87f" providerId="ADAL" clId="{E72384B4-68EF-4D23-AAEB-83D25B7600E5}" dt="2023-10-11T03:56:45.626" v="629"/>
          <ac:graphicFrameMkLst>
            <pc:docMk/>
            <pc:sldMk cId="3831703205" sldId="305"/>
            <ac:graphicFrameMk id="4" creationId="{94D4622D-12EB-BF29-8915-B55C99489CDD}"/>
          </ac:graphicFrameMkLst>
        </pc:graphicFrameChg>
        <pc:picChg chg="add mod">
          <ac:chgData name="Sreelesh Sreenivasan" userId="6ce93406-93cc-4d05-8cef-b5419bd8c87f" providerId="ADAL" clId="{E72384B4-68EF-4D23-AAEB-83D25B7600E5}" dt="2023-10-11T06:31:08.022" v="631"/>
          <ac:picMkLst>
            <pc:docMk/>
            <pc:sldMk cId="3831703205" sldId="305"/>
            <ac:picMk id="25" creationId="{097CB9E6-D004-5E71-3827-1FFF593FA64C}"/>
          </ac:picMkLst>
        </pc:picChg>
        <pc:picChg chg="add mod">
          <ac:chgData name="Sreelesh Sreenivasan" userId="6ce93406-93cc-4d05-8cef-b5419bd8c87f" providerId="ADAL" clId="{E72384B4-68EF-4D23-AAEB-83D25B7600E5}" dt="2023-10-11T06:31:08.022" v="631"/>
          <ac:picMkLst>
            <pc:docMk/>
            <pc:sldMk cId="3831703205" sldId="305"/>
            <ac:picMk id="26" creationId="{9B6759F6-8811-455C-9290-D3D50C02B20D}"/>
          </ac:picMkLst>
        </pc:picChg>
        <pc:picChg chg="add mod">
          <ac:chgData name="Sreelesh Sreenivasan" userId="6ce93406-93cc-4d05-8cef-b5419bd8c87f" providerId="ADAL" clId="{E72384B4-68EF-4D23-AAEB-83D25B7600E5}" dt="2023-10-11T06:31:08.022" v="631"/>
          <ac:picMkLst>
            <pc:docMk/>
            <pc:sldMk cId="3831703205" sldId="305"/>
            <ac:picMk id="33" creationId="{53559CD1-984D-EB2E-1B51-F7763E43169D}"/>
          </ac:picMkLst>
        </pc:picChg>
        <pc:picChg chg="add mod">
          <ac:chgData name="Sreelesh Sreenivasan" userId="6ce93406-93cc-4d05-8cef-b5419bd8c87f" providerId="ADAL" clId="{E72384B4-68EF-4D23-AAEB-83D25B7600E5}" dt="2023-10-11T06:31:08.022" v="631"/>
          <ac:picMkLst>
            <pc:docMk/>
            <pc:sldMk cId="3831703205" sldId="305"/>
            <ac:picMk id="34" creationId="{34F01D12-9DF7-9E43-D040-4E1F8B44627D}"/>
          </ac:picMkLst>
        </pc:picChg>
        <pc:picChg chg="add mod">
          <ac:chgData name="Sreelesh Sreenivasan" userId="6ce93406-93cc-4d05-8cef-b5419bd8c87f" providerId="ADAL" clId="{E72384B4-68EF-4D23-AAEB-83D25B7600E5}" dt="2023-10-11T06:31:08.022" v="631"/>
          <ac:picMkLst>
            <pc:docMk/>
            <pc:sldMk cId="3831703205" sldId="305"/>
            <ac:picMk id="35" creationId="{DA863EA1-E883-F35C-BA53-9891AB313155}"/>
          </ac:picMkLst>
        </pc:picChg>
        <pc:picChg chg="add mod">
          <ac:chgData name="Sreelesh Sreenivasan" userId="6ce93406-93cc-4d05-8cef-b5419bd8c87f" providerId="ADAL" clId="{E72384B4-68EF-4D23-AAEB-83D25B7600E5}" dt="2023-10-11T06:31:08.022" v="631"/>
          <ac:picMkLst>
            <pc:docMk/>
            <pc:sldMk cId="3831703205" sldId="305"/>
            <ac:picMk id="36" creationId="{216574CB-4740-BB4F-18A6-2964C7232467}"/>
          </ac:picMkLst>
        </pc:picChg>
        <pc:picChg chg="add mod">
          <ac:chgData name="Sreelesh Sreenivasan" userId="6ce93406-93cc-4d05-8cef-b5419bd8c87f" providerId="ADAL" clId="{E72384B4-68EF-4D23-AAEB-83D25B7600E5}" dt="2023-10-11T06:31:08.022" v="631"/>
          <ac:picMkLst>
            <pc:docMk/>
            <pc:sldMk cId="3831703205" sldId="305"/>
            <ac:picMk id="37" creationId="{1ABABF9C-068E-EA6B-FE58-3151CE2CC328}"/>
          </ac:picMkLst>
        </pc:picChg>
        <pc:picChg chg="add mod">
          <ac:chgData name="Sreelesh Sreenivasan" userId="6ce93406-93cc-4d05-8cef-b5419bd8c87f" providerId="ADAL" clId="{E72384B4-68EF-4D23-AAEB-83D25B7600E5}" dt="2023-10-11T06:31:08.022" v="631"/>
          <ac:picMkLst>
            <pc:docMk/>
            <pc:sldMk cId="3831703205" sldId="305"/>
            <ac:picMk id="44" creationId="{610F75AB-0FEB-8296-EF6A-19D28B593499}"/>
          </ac:picMkLst>
        </pc:picChg>
        <pc:picChg chg="add mod">
          <ac:chgData name="Sreelesh Sreenivasan" userId="6ce93406-93cc-4d05-8cef-b5419bd8c87f" providerId="ADAL" clId="{E72384B4-68EF-4D23-AAEB-83D25B7600E5}" dt="2023-10-11T06:31:08.022" v="631"/>
          <ac:picMkLst>
            <pc:docMk/>
            <pc:sldMk cId="3831703205" sldId="305"/>
            <ac:picMk id="45" creationId="{59679356-B7E5-75A8-F929-7D0498DE8FF5}"/>
          </ac:picMkLst>
        </pc:picChg>
      </pc:sldChg>
      <pc:sldChg chg="addSp delSp modSp new add mod">
        <pc:chgData name="Sreelesh Sreenivasan" userId="6ce93406-93cc-4d05-8cef-b5419bd8c87f" providerId="ADAL" clId="{E72384B4-68EF-4D23-AAEB-83D25B7600E5}" dt="2023-10-11T06:41:26.320" v="664"/>
        <pc:sldMkLst>
          <pc:docMk/>
          <pc:sldMk cId="2738713930" sldId="306"/>
        </pc:sldMkLst>
        <pc:spChg chg="del">
          <ac:chgData name="Sreelesh Sreenivasan" userId="6ce93406-93cc-4d05-8cef-b5419bd8c87f" providerId="ADAL" clId="{E72384B4-68EF-4D23-AAEB-83D25B7600E5}" dt="2023-10-11T06:39:23.043" v="634" actId="478"/>
          <ac:spMkLst>
            <pc:docMk/>
            <pc:sldMk cId="2738713930" sldId="306"/>
            <ac:spMk id="2" creationId="{4DC6FED5-B9A0-7E74-2BE7-B0221048CA7A}"/>
          </ac:spMkLst>
        </pc:spChg>
        <pc:spChg chg="del">
          <ac:chgData name="Sreelesh Sreenivasan" userId="6ce93406-93cc-4d05-8cef-b5419bd8c87f" providerId="ADAL" clId="{E72384B4-68EF-4D23-AAEB-83D25B7600E5}" dt="2023-10-11T06:39:23.837" v="653" actId="478"/>
          <ac:spMkLst>
            <pc:docMk/>
            <pc:sldMk cId="2738713930" sldId="306"/>
            <ac:spMk id="3" creationId="{97C4E2FD-6AE8-706D-273E-CC76E1085BE4}"/>
          </ac:spMkLst>
        </pc:spChg>
        <pc:spChg chg="add mod">
          <ac:chgData name="Sreelesh Sreenivasan" userId="6ce93406-93cc-4d05-8cef-b5419bd8c87f" providerId="ADAL" clId="{E72384B4-68EF-4D23-AAEB-83D25B7600E5}" dt="2023-10-11T06:39:25.114" v="654"/>
          <ac:spMkLst>
            <pc:docMk/>
            <pc:sldMk cId="2738713930" sldId="306"/>
            <ac:spMk id="5" creationId="{1E2A9575-E71A-D1EA-5AC6-CF4BC5CC861A}"/>
          </ac:spMkLst>
        </pc:spChg>
        <pc:spChg chg="add mod">
          <ac:chgData name="Sreelesh Sreenivasan" userId="6ce93406-93cc-4d05-8cef-b5419bd8c87f" providerId="ADAL" clId="{E72384B4-68EF-4D23-AAEB-83D25B7600E5}" dt="2023-10-11T06:40:10.567" v="655"/>
          <ac:spMkLst>
            <pc:docMk/>
            <pc:sldMk cId="2738713930" sldId="306"/>
            <ac:spMk id="6" creationId="{B81ACFD7-B8FF-F470-1A1C-B2BDD0D5094B}"/>
          </ac:spMkLst>
        </pc:spChg>
        <pc:spChg chg="add mod">
          <ac:chgData name="Sreelesh Sreenivasan" userId="6ce93406-93cc-4d05-8cef-b5419bd8c87f" providerId="ADAL" clId="{E72384B4-68EF-4D23-AAEB-83D25B7600E5}" dt="2023-10-11T06:40:10.567" v="655"/>
          <ac:spMkLst>
            <pc:docMk/>
            <pc:sldMk cId="2738713930" sldId="306"/>
            <ac:spMk id="7" creationId="{BD87E113-8E54-B67F-8E1C-30618B450AFE}"/>
          </ac:spMkLst>
        </pc:spChg>
        <pc:spChg chg="add mod">
          <ac:chgData name="Sreelesh Sreenivasan" userId="6ce93406-93cc-4d05-8cef-b5419bd8c87f" providerId="ADAL" clId="{E72384B4-68EF-4D23-AAEB-83D25B7600E5}" dt="2023-10-11T06:40:10.567" v="655"/>
          <ac:spMkLst>
            <pc:docMk/>
            <pc:sldMk cId="2738713930" sldId="306"/>
            <ac:spMk id="8" creationId="{FD74658D-4932-0F2E-5986-691B45219BE5}"/>
          </ac:spMkLst>
        </pc:spChg>
        <pc:spChg chg="add mod">
          <ac:chgData name="Sreelesh Sreenivasan" userId="6ce93406-93cc-4d05-8cef-b5419bd8c87f" providerId="ADAL" clId="{E72384B4-68EF-4D23-AAEB-83D25B7600E5}" dt="2023-10-11T06:40:10.567" v="655"/>
          <ac:spMkLst>
            <pc:docMk/>
            <pc:sldMk cId="2738713930" sldId="306"/>
            <ac:spMk id="9" creationId="{1E5A5B01-5B2D-7B00-C9A9-904FBCF4C463}"/>
          </ac:spMkLst>
        </pc:spChg>
        <pc:spChg chg="add mod">
          <ac:chgData name="Sreelesh Sreenivasan" userId="6ce93406-93cc-4d05-8cef-b5419bd8c87f" providerId="ADAL" clId="{E72384B4-68EF-4D23-AAEB-83D25B7600E5}" dt="2023-10-11T06:40:10.567" v="655"/>
          <ac:spMkLst>
            <pc:docMk/>
            <pc:sldMk cId="2738713930" sldId="306"/>
            <ac:spMk id="10" creationId="{5246F944-00C9-0FA3-1FD5-423A704C71F3}"/>
          </ac:spMkLst>
        </pc:spChg>
        <pc:spChg chg="add mod">
          <ac:chgData name="Sreelesh Sreenivasan" userId="6ce93406-93cc-4d05-8cef-b5419bd8c87f" providerId="ADAL" clId="{E72384B4-68EF-4D23-AAEB-83D25B7600E5}" dt="2023-10-11T06:40:10.567" v="655"/>
          <ac:spMkLst>
            <pc:docMk/>
            <pc:sldMk cId="2738713930" sldId="306"/>
            <ac:spMk id="11" creationId="{1791F1F2-881C-6377-F654-7F8505A21928}"/>
          </ac:spMkLst>
        </pc:spChg>
        <pc:spChg chg="add mod">
          <ac:chgData name="Sreelesh Sreenivasan" userId="6ce93406-93cc-4d05-8cef-b5419bd8c87f" providerId="ADAL" clId="{E72384B4-68EF-4D23-AAEB-83D25B7600E5}" dt="2023-10-11T06:40:10.567" v="655"/>
          <ac:spMkLst>
            <pc:docMk/>
            <pc:sldMk cId="2738713930" sldId="306"/>
            <ac:spMk id="12" creationId="{C66EB98D-8CE7-3A63-3075-BE3353BDF4E9}"/>
          </ac:spMkLst>
        </pc:spChg>
        <pc:spChg chg="add mod">
          <ac:chgData name="Sreelesh Sreenivasan" userId="6ce93406-93cc-4d05-8cef-b5419bd8c87f" providerId="ADAL" clId="{E72384B4-68EF-4D23-AAEB-83D25B7600E5}" dt="2023-10-11T06:40:10.567" v="655"/>
          <ac:spMkLst>
            <pc:docMk/>
            <pc:sldMk cId="2738713930" sldId="306"/>
            <ac:spMk id="13" creationId="{F41CBE49-448E-D866-BE98-FD6174091129}"/>
          </ac:spMkLst>
        </pc:spChg>
        <pc:spChg chg="add mod">
          <ac:chgData name="Sreelesh Sreenivasan" userId="6ce93406-93cc-4d05-8cef-b5419bd8c87f" providerId="ADAL" clId="{E72384B4-68EF-4D23-AAEB-83D25B7600E5}" dt="2023-10-11T06:40:10.567" v="655"/>
          <ac:spMkLst>
            <pc:docMk/>
            <pc:sldMk cId="2738713930" sldId="306"/>
            <ac:spMk id="14" creationId="{DF04CB29-F365-33C8-488C-3E5394A37E2F}"/>
          </ac:spMkLst>
        </pc:spChg>
        <pc:spChg chg="mod">
          <ac:chgData name="Sreelesh Sreenivasan" userId="6ce93406-93cc-4d05-8cef-b5419bd8c87f" providerId="ADAL" clId="{E72384B4-68EF-4D23-AAEB-83D25B7600E5}" dt="2023-10-11T06:40:10.567" v="655"/>
          <ac:spMkLst>
            <pc:docMk/>
            <pc:sldMk cId="2738713930" sldId="306"/>
            <ac:spMk id="16" creationId="{516F82DF-4116-4F55-ABF0-2512CF0E114F}"/>
          </ac:spMkLst>
        </pc:spChg>
        <pc:spChg chg="mod">
          <ac:chgData name="Sreelesh Sreenivasan" userId="6ce93406-93cc-4d05-8cef-b5419bd8c87f" providerId="ADAL" clId="{E72384B4-68EF-4D23-AAEB-83D25B7600E5}" dt="2023-10-11T06:40:10.567" v="655"/>
          <ac:spMkLst>
            <pc:docMk/>
            <pc:sldMk cId="2738713930" sldId="306"/>
            <ac:spMk id="17" creationId="{958DB2CA-A289-6940-ADAA-9D67F9692C8B}"/>
          </ac:spMkLst>
        </pc:spChg>
        <pc:spChg chg="mod">
          <ac:chgData name="Sreelesh Sreenivasan" userId="6ce93406-93cc-4d05-8cef-b5419bd8c87f" providerId="ADAL" clId="{E72384B4-68EF-4D23-AAEB-83D25B7600E5}" dt="2023-10-11T06:40:10.567" v="655"/>
          <ac:spMkLst>
            <pc:docMk/>
            <pc:sldMk cId="2738713930" sldId="306"/>
            <ac:spMk id="19" creationId="{F262CEA0-3E66-77E4-A83A-C68265EA7CC1}"/>
          </ac:spMkLst>
        </pc:spChg>
        <pc:spChg chg="mod">
          <ac:chgData name="Sreelesh Sreenivasan" userId="6ce93406-93cc-4d05-8cef-b5419bd8c87f" providerId="ADAL" clId="{E72384B4-68EF-4D23-AAEB-83D25B7600E5}" dt="2023-10-11T06:40:10.567" v="655"/>
          <ac:spMkLst>
            <pc:docMk/>
            <pc:sldMk cId="2738713930" sldId="306"/>
            <ac:spMk id="20" creationId="{65FCD6F3-29BC-CFEC-3F47-E3A62114F9C1}"/>
          </ac:spMkLst>
        </pc:spChg>
        <pc:spChg chg="mod">
          <ac:chgData name="Sreelesh Sreenivasan" userId="6ce93406-93cc-4d05-8cef-b5419bd8c87f" providerId="ADAL" clId="{E72384B4-68EF-4D23-AAEB-83D25B7600E5}" dt="2023-10-11T06:40:10.567" v="655"/>
          <ac:spMkLst>
            <pc:docMk/>
            <pc:sldMk cId="2738713930" sldId="306"/>
            <ac:spMk id="22" creationId="{06314F61-77C3-4F5D-8CB3-77090DE369B3}"/>
          </ac:spMkLst>
        </pc:spChg>
        <pc:spChg chg="mod">
          <ac:chgData name="Sreelesh Sreenivasan" userId="6ce93406-93cc-4d05-8cef-b5419bd8c87f" providerId="ADAL" clId="{E72384B4-68EF-4D23-AAEB-83D25B7600E5}" dt="2023-10-11T06:40:10.567" v="655"/>
          <ac:spMkLst>
            <pc:docMk/>
            <pc:sldMk cId="2738713930" sldId="306"/>
            <ac:spMk id="23" creationId="{B8734643-26F0-528F-21B1-7C698EF7AC90}"/>
          </ac:spMkLst>
        </pc:spChg>
        <pc:spChg chg="mod">
          <ac:chgData name="Sreelesh Sreenivasan" userId="6ce93406-93cc-4d05-8cef-b5419bd8c87f" providerId="ADAL" clId="{E72384B4-68EF-4D23-AAEB-83D25B7600E5}" dt="2023-10-11T06:40:10.567" v="655"/>
          <ac:spMkLst>
            <pc:docMk/>
            <pc:sldMk cId="2738713930" sldId="306"/>
            <ac:spMk id="25" creationId="{9ED02185-2F84-D1D6-880D-B262DFAED70F}"/>
          </ac:spMkLst>
        </pc:spChg>
        <pc:spChg chg="mod">
          <ac:chgData name="Sreelesh Sreenivasan" userId="6ce93406-93cc-4d05-8cef-b5419bd8c87f" providerId="ADAL" clId="{E72384B4-68EF-4D23-AAEB-83D25B7600E5}" dt="2023-10-11T06:40:10.567" v="655"/>
          <ac:spMkLst>
            <pc:docMk/>
            <pc:sldMk cId="2738713930" sldId="306"/>
            <ac:spMk id="26" creationId="{9F49B776-4EA1-3499-3E11-28B958D6728A}"/>
          </ac:spMkLst>
        </pc:spChg>
        <pc:spChg chg="mod">
          <ac:chgData name="Sreelesh Sreenivasan" userId="6ce93406-93cc-4d05-8cef-b5419bd8c87f" providerId="ADAL" clId="{E72384B4-68EF-4D23-AAEB-83D25B7600E5}" dt="2023-10-11T06:40:10.567" v="655"/>
          <ac:spMkLst>
            <pc:docMk/>
            <pc:sldMk cId="2738713930" sldId="306"/>
            <ac:spMk id="30" creationId="{6E1E8624-5A93-98D7-E273-79887688AA4A}"/>
          </ac:spMkLst>
        </pc:spChg>
        <pc:spChg chg="mod">
          <ac:chgData name="Sreelesh Sreenivasan" userId="6ce93406-93cc-4d05-8cef-b5419bd8c87f" providerId="ADAL" clId="{E72384B4-68EF-4D23-AAEB-83D25B7600E5}" dt="2023-10-11T06:40:10.567" v="655"/>
          <ac:spMkLst>
            <pc:docMk/>
            <pc:sldMk cId="2738713930" sldId="306"/>
            <ac:spMk id="31" creationId="{42F5AA17-640F-F252-73B1-E6C7598CF66F}"/>
          </ac:spMkLst>
        </pc:spChg>
        <pc:spChg chg="mod">
          <ac:chgData name="Sreelesh Sreenivasan" userId="6ce93406-93cc-4d05-8cef-b5419bd8c87f" providerId="ADAL" clId="{E72384B4-68EF-4D23-AAEB-83D25B7600E5}" dt="2023-10-11T06:40:10.567" v="655"/>
          <ac:spMkLst>
            <pc:docMk/>
            <pc:sldMk cId="2738713930" sldId="306"/>
            <ac:spMk id="33" creationId="{167CB3D6-EE76-E1B8-113B-A6F74E78FBD9}"/>
          </ac:spMkLst>
        </pc:spChg>
        <pc:spChg chg="mod">
          <ac:chgData name="Sreelesh Sreenivasan" userId="6ce93406-93cc-4d05-8cef-b5419bd8c87f" providerId="ADAL" clId="{E72384B4-68EF-4D23-AAEB-83D25B7600E5}" dt="2023-10-11T06:40:10.567" v="655"/>
          <ac:spMkLst>
            <pc:docMk/>
            <pc:sldMk cId="2738713930" sldId="306"/>
            <ac:spMk id="34" creationId="{6745DB64-7A3B-8747-D7E6-CEB78F844CEA}"/>
          </ac:spMkLst>
        </pc:spChg>
        <pc:spChg chg="mod">
          <ac:chgData name="Sreelesh Sreenivasan" userId="6ce93406-93cc-4d05-8cef-b5419bd8c87f" providerId="ADAL" clId="{E72384B4-68EF-4D23-AAEB-83D25B7600E5}" dt="2023-10-11T06:40:10.567" v="655"/>
          <ac:spMkLst>
            <pc:docMk/>
            <pc:sldMk cId="2738713930" sldId="306"/>
            <ac:spMk id="41" creationId="{03387F50-9D7E-88BE-39E3-B6216A245291}"/>
          </ac:spMkLst>
        </pc:spChg>
        <pc:spChg chg="mod">
          <ac:chgData name="Sreelesh Sreenivasan" userId="6ce93406-93cc-4d05-8cef-b5419bd8c87f" providerId="ADAL" clId="{E72384B4-68EF-4D23-AAEB-83D25B7600E5}" dt="2023-10-11T06:40:10.567" v="655"/>
          <ac:spMkLst>
            <pc:docMk/>
            <pc:sldMk cId="2738713930" sldId="306"/>
            <ac:spMk id="42" creationId="{8768A678-4AC9-7073-E6D1-0BA5E3778CA2}"/>
          </ac:spMkLst>
        </pc:spChg>
        <pc:spChg chg="mod">
          <ac:chgData name="Sreelesh Sreenivasan" userId="6ce93406-93cc-4d05-8cef-b5419bd8c87f" providerId="ADAL" clId="{E72384B4-68EF-4D23-AAEB-83D25B7600E5}" dt="2023-10-11T06:40:10.567" v="655"/>
          <ac:spMkLst>
            <pc:docMk/>
            <pc:sldMk cId="2738713930" sldId="306"/>
            <ac:spMk id="44" creationId="{C4E2BBA5-2A76-2BAE-5014-B2B9025869E2}"/>
          </ac:spMkLst>
        </pc:spChg>
        <pc:spChg chg="mod">
          <ac:chgData name="Sreelesh Sreenivasan" userId="6ce93406-93cc-4d05-8cef-b5419bd8c87f" providerId="ADAL" clId="{E72384B4-68EF-4D23-AAEB-83D25B7600E5}" dt="2023-10-11T06:40:10.567" v="655"/>
          <ac:spMkLst>
            <pc:docMk/>
            <pc:sldMk cId="2738713930" sldId="306"/>
            <ac:spMk id="45" creationId="{63F03C26-2AFC-25DA-B6F3-6C1F70CA0502}"/>
          </ac:spMkLst>
        </pc:spChg>
        <pc:spChg chg="mod">
          <ac:chgData name="Sreelesh Sreenivasan" userId="6ce93406-93cc-4d05-8cef-b5419bd8c87f" providerId="ADAL" clId="{E72384B4-68EF-4D23-AAEB-83D25B7600E5}" dt="2023-10-11T06:40:10.567" v="655"/>
          <ac:spMkLst>
            <pc:docMk/>
            <pc:sldMk cId="2738713930" sldId="306"/>
            <ac:spMk id="49" creationId="{5501DB58-1ADA-46B6-CB4B-17485D02CE52}"/>
          </ac:spMkLst>
        </pc:spChg>
        <pc:spChg chg="mod">
          <ac:chgData name="Sreelesh Sreenivasan" userId="6ce93406-93cc-4d05-8cef-b5419bd8c87f" providerId="ADAL" clId="{E72384B4-68EF-4D23-AAEB-83D25B7600E5}" dt="2023-10-11T06:41:26.320" v="664"/>
          <ac:spMkLst>
            <pc:docMk/>
            <pc:sldMk cId="2738713930" sldId="306"/>
            <ac:spMk id="50" creationId="{F2AD7E27-F64C-3A89-5357-11F0C945F239}"/>
          </ac:spMkLst>
        </pc:spChg>
        <pc:spChg chg="mod">
          <ac:chgData name="Sreelesh Sreenivasan" userId="6ce93406-93cc-4d05-8cef-b5419bd8c87f" providerId="ADAL" clId="{E72384B4-68EF-4D23-AAEB-83D25B7600E5}" dt="2023-10-11T06:40:10.567" v="655"/>
          <ac:spMkLst>
            <pc:docMk/>
            <pc:sldMk cId="2738713930" sldId="306"/>
            <ac:spMk id="52" creationId="{F50246A3-00A4-501A-6872-2D8F588B4F94}"/>
          </ac:spMkLst>
        </pc:spChg>
        <pc:spChg chg="mod">
          <ac:chgData name="Sreelesh Sreenivasan" userId="6ce93406-93cc-4d05-8cef-b5419bd8c87f" providerId="ADAL" clId="{E72384B4-68EF-4D23-AAEB-83D25B7600E5}" dt="2023-10-11T06:40:10.567" v="655"/>
          <ac:spMkLst>
            <pc:docMk/>
            <pc:sldMk cId="2738713930" sldId="306"/>
            <ac:spMk id="53" creationId="{868EE26A-F0AC-BC18-6E13-DC7CCFF9206A}"/>
          </ac:spMkLst>
        </pc:spChg>
        <pc:spChg chg="mod">
          <ac:chgData name="Sreelesh Sreenivasan" userId="6ce93406-93cc-4d05-8cef-b5419bd8c87f" providerId="ADAL" clId="{E72384B4-68EF-4D23-AAEB-83D25B7600E5}" dt="2023-10-11T06:40:10.567" v="655"/>
          <ac:spMkLst>
            <pc:docMk/>
            <pc:sldMk cId="2738713930" sldId="306"/>
            <ac:spMk id="55" creationId="{603DCC09-1B5F-17FB-DF70-8291387F1884}"/>
          </ac:spMkLst>
        </pc:spChg>
        <pc:spChg chg="mod">
          <ac:chgData name="Sreelesh Sreenivasan" userId="6ce93406-93cc-4d05-8cef-b5419bd8c87f" providerId="ADAL" clId="{E72384B4-68EF-4D23-AAEB-83D25B7600E5}" dt="2023-10-11T06:40:10.567" v="655"/>
          <ac:spMkLst>
            <pc:docMk/>
            <pc:sldMk cId="2738713930" sldId="306"/>
            <ac:spMk id="56" creationId="{39CD7E2B-C229-AA48-2C11-DFD437D8AEC0}"/>
          </ac:spMkLst>
        </pc:spChg>
        <pc:spChg chg="mod">
          <ac:chgData name="Sreelesh Sreenivasan" userId="6ce93406-93cc-4d05-8cef-b5419bd8c87f" providerId="ADAL" clId="{E72384B4-68EF-4D23-AAEB-83D25B7600E5}" dt="2023-10-11T06:40:10.567" v="655"/>
          <ac:spMkLst>
            <pc:docMk/>
            <pc:sldMk cId="2738713930" sldId="306"/>
            <ac:spMk id="58" creationId="{DBD0C2D5-8A45-7B9B-1F6F-7BFE4FEB823B}"/>
          </ac:spMkLst>
        </pc:spChg>
        <pc:spChg chg="mod">
          <ac:chgData name="Sreelesh Sreenivasan" userId="6ce93406-93cc-4d05-8cef-b5419bd8c87f" providerId="ADAL" clId="{E72384B4-68EF-4D23-AAEB-83D25B7600E5}" dt="2023-10-11T06:41:07.403" v="663" actId="6549"/>
          <ac:spMkLst>
            <pc:docMk/>
            <pc:sldMk cId="2738713930" sldId="306"/>
            <ac:spMk id="59" creationId="{207582B9-BC45-C0CD-CABB-45029011086E}"/>
          </ac:spMkLst>
        </pc:spChg>
        <pc:spChg chg="mod">
          <ac:chgData name="Sreelesh Sreenivasan" userId="6ce93406-93cc-4d05-8cef-b5419bd8c87f" providerId="ADAL" clId="{E72384B4-68EF-4D23-AAEB-83D25B7600E5}" dt="2023-10-11T06:40:10.567" v="655"/>
          <ac:spMkLst>
            <pc:docMk/>
            <pc:sldMk cId="2738713930" sldId="306"/>
            <ac:spMk id="61" creationId="{86D669AE-E23C-D003-912D-AC55B3530A63}"/>
          </ac:spMkLst>
        </pc:spChg>
        <pc:spChg chg="mod">
          <ac:chgData name="Sreelesh Sreenivasan" userId="6ce93406-93cc-4d05-8cef-b5419bd8c87f" providerId="ADAL" clId="{E72384B4-68EF-4D23-AAEB-83D25B7600E5}" dt="2023-10-11T06:40:10.567" v="655"/>
          <ac:spMkLst>
            <pc:docMk/>
            <pc:sldMk cId="2738713930" sldId="306"/>
            <ac:spMk id="62" creationId="{0E24BD6A-A0C4-0D3E-F1A2-824ED921E59C}"/>
          </ac:spMkLst>
        </pc:spChg>
        <pc:spChg chg="mod">
          <ac:chgData name="Sreelesh Sreenivasan" userId="6ce93406-93cc-4d05-8cef-b5419bd8c87f" providerId="ADAL" clId="{E72384B4-68EF-4D23-AAEB-83D25B7600E5}" dt="2023-10-11T06:40:47.124" v="662" actId="20577"/>
          <ac:spMkLst>
            <pc:docMk/>
            <pc:sldMk cId="2738713930" sldId="306"/>
            <ac:spMk id="64" creationId="{22857D22-ED30-41EA-5817-9C539B28241D}"/>
          </ac:spMkLst>
        </pc:spChg>
        <pc:spChg chg="mod">
          <ac:chgData name="Sreelesh Sreenivasan" userId="6ce93406-93cc-4d05-8cef-b5419bd8c87f" providerId="ADAL" clId="{E72384B4-68EF-4D23-AAEB-83D25B7600E5}" dt="2023-10-11T06:40:10.567" v="655"/>
          <ac:spMkLst>
            <pc:docMk/>
            <pc:sldMk cId="2738713930" sldId="306"/>
            <ac:spMk id="65" creationId="{1610AE8C-3407-7A92-8D20-5CC2208B801C}"/>
          </ac:spMkLst>
        </pc:spChg>
        <pc:spChg chg="mod">
          <ac:chgData name="Sreelesh Sreenivasan" userId="6ce93406-93cc-4d05-8cef-b5419bd8c87f" providerId="ADAL" clId="{E72384B4-68EF-4D23-AAEB-83D25B7600E5}" dt="2023-10-11T06:40:10.567" v="655"/>
          <ac:spMkLst>
            <pc:docMk/>
            <pc:sldMk cId="2738713930" sldId="306"/>
            <ac:spMk id="67" creationId="{7B869FDA-1D53-3AC1-797E-C1ECEFF8A4F8}"/>
          </ac:spMkLst>
        </pc:spChg>
        <pc:spChg chg="mod">
          <ac:chgData name="Sreelesh Sreenivasan" userId="6ce93406-93cc-4d05-8cef-b5419bd8c87f" providerId="ADAL" clId="{E72384B4-68EF-4D23-AAEB-83D25B7600E5}" dt="2023-10-11T06:40:10.567" v="655"/>
          <ac:spMkLst>
            <pc:docMk/>
            <pc:sldMk cId="2738713930" sldId="306"/>
            <ac:spMk id="68" creationId="{9A941316-C837-7A8E-8BB3-E22332C33D5F}"/>
          </ac:spMkLst>
        </pc:spChg>
        <pc:spChg chg="mod">
          <ac:chgData name="Sreelesh Sreenivasan" userId="6ce93406-93cc-4d05-8cef-b5419bd8c87f" providerId="ADAL" clId="{E72384B4-68EF-4D23-AAEB-83D25B7600E5}" dt="2023-10-11T06:40:10.567" v="655"/>
          <ac:spMkLst>
            <pc:docMk/>
            <pc:sldMk cId="2738713930" sldId="306"/>
            <ac:spMk id="70" creationId="{70E01CC7-36E9-2421-7D9B-090E588525E2}"/>
          </ac:spMkLst>
        </pc:spChg>
        <pc:spChg chg="mod">
          <ac:chgData name="Sreelesh Sreenivasan" userId="6ce93406-93cc-4d05-8cef-b5419bd8c87f" providerId="ADAL" clId="{E72384B4-68EF-4D23-AAEB-83D25B7600E5}" dt="2023-10-11T06:40:10.567" v="655"/>
          <ac:spMkLst>
            <pc:docMk/>
            <pc:sldMk cId="2738713930" sldId="306"/>
            <ac:spMk id="71" creationId="{B182A537-37FD-2CAE-58BD-875AA475D56F}"/>
          </ac:spMkLst>
        </pc:spChg>
        <pc:grpChg chg="add mod">
          <ac:chgData name="Sreelesh Sreenivasan" userId="6ce93406-93cc-4d05-8cef-b5419bd8c87f" providerId="ADAL" clId="{E72384B4-68EF-4D23-AAEB-83D25B7600E5}" dt="2023-10-11T06:40:10.567" v="655"/>
          <ac:grpSpMkLst>
            <pc:docMk/>
            <pc:sldMk cId="2738713930" sldId="306"/>
            <ac:grpSpMk id="15" creationId="{54028673-E1E5-33F9-66A3-C42ADCBA8F51}"/>
          </ac:grpSpMkLst>
        </pc:grpChg>
        <pc:grpChg chg="add mod">
          <ac:chgData name="Sreelesh Sreenivasan" userId="6ce93406-93cc-4d05-8cef-b5419bd8c87f" providerId="ADAL" clId="{E72384B4-68EF-4D23-AAEB-83D25B7600E5}" dt="2023-10-11T06:40:10.567" v="655"/>
          <ac:grpSpMkLst>
            <pc:docMk/>
            <pc:sldMk cId="2738713930" sldId="306"/>
            <ac:grpSpMk id="18" creationId="{716EDA9F-10A1-3844-C4ED-4EED713474B5}"/>
          </ac:grpSpMkLst>
        </pc:grpChg>
        <pc:grpChg chg="add mod">
          <ac:chgData name="Sreelesh Sreenivasan" userId="6ce93406-93cc-4d05-8cef-b5419bd8c87f" providerId="ADAL" clId="{E72384B4-68EF-4D23-AAEB-83D25B7600E5}" dt="2023-10-11T06:40:10.567" v="655"/>
          <ac:grpSpMkLst>
            <pc:docMk/>
            <pc:sldMk cId="2738713930" sldId="306"/>
            <ac:grpSpMk id="21" creationId="{D4BA0E02-6737-FEE5-5131-14AFB4F020C8}"/>
          </ac:grpSpMkLst>
        </pc:grpChg>
        <pc:grpChg chg="add mod">
          <ac:chgData name="Sreelesh Sreenivasan" userId="6ce93406-93cc-4d05-8cef-b5419bd8c87f" providerId="ADAL" clId="{E72384B4-68EF-4D23-AAEB-83D25B7600E5}" dt="2023-10-11T06:40:10.567" v="655"/>
          <ac:grpSpMkLst>
            <pc:docMk/>
            <pc:sldMk cId="2738713930" sldId="306"/>
            <ac:grpSpMk id="24" creationId="{DA9C724A-36E5-FE8E-5C99-FC0524E7D68A}"/>
          </ac:grpSpMkLst>
        </pc:grpChg>
        <pc:grpChg chg="add mod">
          <ac:chgData name="Sreelesh Sreenivasan" userId="6ce93406-93cc-4d05-8cef-b5419bd8c87f" providerId="ADAL" clId="{E72384B4-68EF-4D23-AAEB-83D25B7600E5}" dt="2023-10-11T06:40:10.567" v="655"/>
          <ac:grpSpMkLst>
            <pc:docMk/>
            <pc:sldMk cId="2738713930" sldId="306"/>
            <ac:grpSpMk id="29" creationId="{2EBD2855-615F-E443-31C3-4B6F0F4A0B60}"/>
          </ac:grpSpMkLst>
        </pc:grpChg>
        <pc:grpChg chg="add mod">
          <ac:chgData name="Sreelesh Sreenivasan" userId="6ce93406-93cc-4d05-8cef-b5419bd8c87f" providerId="ADAL" clId="{E72384B4-68EF-4D23-AAEB-83D25B7600E5}" dt="2023-10-11T06:40:10.567" v="655"/>
          <ac:grpSpMkLst>
            <pc:docMk/>
            <pc:sldMk cId="2738713930" sldId="306"/>
            <ac:grpSpMk id="32" creationId="{3720DB54-F10C-AAFA-2149-8D1919674F4F}"/>
          </ac:grpSpMkLst>
        </pc:grpChg>
        <pc:grpChg chg="add mod">
          <ac:chgData name="Sreelesh Sreenivasan" userId="6ce93406-93cc-4d05-8cef-b5419bd8c87f" providerId="ADAL" clId="{E72384B4-68EF-4D23-AAEB-83D25B7600E5}" dt="2023-10-11T06:40:10.567" v="655"/>
          <ac:grpSpMkLst>
            <pc:docMk/>
            <pc:sldMk cId="2738713930" sldId="306"/>
            <ac:grpSpMk id="40" creationId="{C2A88369-8ADB-3C1F-BB6A-FE340E8D1F29}"/>
          </ac:grpSpMkLst>
        </pc:grpChg>
        <pc:grpChg chg="add mod">
          <ac:chgData name="Sreelesh Sreenivasan" userId="6ce93406-93cc-4d05-8cef-b5419bd8c87f" providerId="ADAL" clId="{E72384B4-68EF-4D23-AAEB-83D25B7600E5}" dt="2023-10-11T06:40:10.567" v="655"/>
          <ac:grpSpMkLst>
            <pc:docMk/>
            <pc:sldMk cId="2738713930" sldId="306"/>
            <ac:grpSpMk id="43" creationId="{1217F0C3-8F82-E30E-AD72-927F1694C961}"/>
          </ac:grpSpMkLst>
        </pc:grpChg>
        <pc:grpChg chg="add mod">
          <ac:chgData name="Sreelesh Sreenivasan" userId="6ce93406-93cc-4d05-8cef-b5419bd8c87f" providerId="ADAL" clId="{E72384B4-68EF-4D23-AAEB-83D25B7600E5}" dt="2023-10-11T06:40:10.567" v="655"/>
          <ac:grpSpMkLst>
            <pc:docMk/>
            <pc:sldMk cId="2738713930" sldId="306"/>
            <ac:grpSpMk id="48" creationId="{D41B450E-0678-A522-FD55-C7174B7451CF}"/>
          </ac:grpSpMkLst>
        </pc:grpChg>
        <pc:grpChg chg="add mod">
          <ac:chgData name="Sreelesh Sreenivasan" userId="6ce93406-93cc-4d05-8cef-b5419bd8c87f" providerId="ADAL" clId="{E72384B4-68EF-4D23-AAEB-83D25B7600E5}" dt="2023-10-11T06:40:10.567" v="655"/>
          <ac:grpSpMkLst>
            <pc:docMk/>
            <pc:sldMk cId="2738713930" sldId="306"/>
            <ac:grpSpMk id="51" creationId="{18AB30CB-F112-2184-9966-385479397DEA}"/>
          </ac:grpSpMkLst>
        </pc:grpChg>
        <pc:grpChg chg="add mod">
          <ac:chgData name="Sreelesh Sreenivasan" userId="6ce93406-93cc-4d05-8cef-b5419bd8c87f" providerId="ADAL" clId="{E72384B4-68EF-4D23-AAEB-83D25B7600E5}" dt="2023-10-11T06:40:10.567" v="655"/>
          <ac:grpSpMkLst>
            <pc:docMk/>
            <pc:sldMk cId="2738713930" sldId="306"/>
            <ac:grpSpMk id="54" creationId="{5228909A-37EC-8AA8-64F1-9A076E1DF0A7}"/>
          </ac:grpSpMkLst>
        </pc:grpChg>
        <pc:grpChg chg="add mod">
          <ac:chgData name="Sreelesh Sreenivasan" userId="6ce93406-93cc-4d05-8cef-b5419bd8c87f" providerId="ADAL" clId="{E72384B4-68EF-4D23-AAEB-83D25B7600E5}" dt="2023-10-11T06:40:10.567" v="655"/>
          <ac:grpSpMkLst>
            <pc:docMk/>
            <pc:sldMk cId="2738713930" sldId="306"/>
            <ac:grpSpMk id="57" creationId="{CFA2FF59-83C5-93CF-FC6D-E9451E483CFA}"/>
          </ac:grpSpMkLst>
        </pc:grpChg>
        <pc:grpChg chg="add mod">
          <ac:chgData name="Sreelesh Sreenivasan" userId="6ce93406-93cc-4d05-8cef-b5419bd8c87f" providerId="ADAL" clId="{E72384B4-68EF-4D23-AAEB-83D25B7600E5}" dt="2023-10-11T06:40:10.567" v="655"/>
          <ac:grpSpMkLst>
            <pc:docMk/>
            <pc:sldMk cId="2738713930" sldId="306"/>
            <ac:grpSpMk id="60" creationId="{8CB4AE84-6B6A-F1A9-B80D-25F5AACDF65C}"/>
          </ac:grpSpMkLst>
        </pc:grpChg>
        <pc:grpChg chg="add mod">
          <ac:chgData name="Sreelesh Sreenivasan" userId="6ce93406-93cc-4d05-8cef-b5419bd8c87f" providerId="ADAL" clId="{E72384B4-68EF-4D23-AAEB-83D25B7600E5}" dt="2023-10-11T06:40:10.567" v="655"/>
          <ac:grpSpMkLst>
            <pc:docMk/>
            <pc:sldMk cId="2738713930" sldId="306"/>
            <ac:grpSpMk id="63" creationId="{74B00265-1FD1-4A38-B2BC-054B79A365E9}"/>
          </ac:grpSpMkLst>
        </pc:grpChg>
        <pc:grpChg chg="add mod">
          <ac:chgData name="Sreelesh Sreenivasan" userId="6ce93406-93cc-4d05-8cef-b5419bd8c87f" providerId="ADAL" clId="{E72384B4-68EF-4D23-AAEB-83D25B7600E5}" dt="2023-10-11T06:40:10.567" v="655"/>
          <ac:grpSpMkLst>
            <pc:docMk/>
            <pc:sldMk cId="2738713930" sldId="306"/>
            <ac:grpSpMk id="66" creationId="{AEB3BF60-F889-D776-7BA9-35E21C1EDD33}"/>
          </ac:grpSpMkLst>
        </pc:grpChg>
        <pc:grpChg chg="add mod">
          <ac:chgData name="Sreelesh Sreenivasan" userId="6ce93406-93cc-4d05-8cef-b5419bd8c87f" providerId="ADAL" clId="{E72384B4-68EF-4D23-AAEB-83D25B7600E5}" dt="2023-10-11T06:40:10.567" v="655"/>
          <ac:grpSpMkLst>
            <pc:docMk/>
            <pc:sldMk cId="2738713930" sldId="306"/>
            <ac:grpSpMk id="69" creationId="{B8839D44-AE00-7AC7-6B7E-6292735C5F5D}"/>
          </ac:grpSpMkLst>
        </pc:grpChg>
        <pc:graphicFrameChg chg="add mod ord modVis replST">
          <ac:chgData name="Sreelesh Sreenivasan" userId="6ce93406-93cc-4d05-8cef-b5419bd8c87f" providerId="ADAL" clId="{E72384B4-68EF-4D23-AAEB-83D25B7600E5}" dt="2023-10-11T06:39:23.742" v="652"/>
          <ac:graphicFrameMkLst>
            <pc:docMk/>
            <pc:sldMk cId="2738713930" sldId="306"/>
            <ac:graphicFrameMk id="4" creationId="{C6B4F305-BE85-3675-9F47-F4B586EC4D56}"/>
          </ac:graphicFrameMkLst>
        </pc:graphicFrameChg>
        <pc:picChg chg="add mod">
          <ac:chgData name="Sreelesh Sreenivasan" userId="6ce93406-93cc-4d05-8cef-b5419bd8c87f" providerId="ADAL" clId="{E72384B4-68EF-4D23-AAEB-83D25B7600E5}" dt="2023-10-11T06:40:10.567" v="655"/>
          <ac:picMkLst>
            <pc:docMk/>
            <pc:sldMk cId="2738713930" sldId="306"/>
            <ac:picMk id="27" creationId="{502386D1-0CAD-8C32-E487-EED9E4BE72E5}"/>
          </ac:picMkLst>
        </pc:picChg>
        <pc:picChg chg="add mod">
          <ac:chgData name="Sreelesh Sreenivasan" userId="6ce93406-93cc-4d05-8cef-b5419bd8c87f" providerId="ADAL" clId="{E72384B4-68EF-4D23-AAEB-83D25B7600E5}" dt="2023-10-11T06:40:10.567" v="655"/>
          <ac:picMkLst>
            <pc:docMk/>
            <pc:sldMk cId="2738713930" sldId="306"/>
            <ac:picMk id="28" creationId="{0C8125FF-A84F-C8FC-BA94-A5AE985DDE20}"/>
          </ac:picMkLst>
        </pc:picChg>
        <pc:picChg chg="add mod">
          <ac:chgData name="Sreelesh Sreenivasan" userId="6ce93406-93cc-4d05-8cef-b5419bd8c87f" providerId="ADAL" clId="{E72384B4-68EF-4D23-AAEB-83D25B7600E5}" dt="2023-10-11T06:40:10.567" v="655"/>
          <ac:picMkLst>
            <pc:docMk/>
            <pc:sldMk cId="2738713930" sldId="306"/>
            <ac:picMk id="35" creationId="{18FD4D23-782C-F03E-8AC6-8A4F90420B9C}"/>
          </ac:picMkLst>
        </pc:picChg>
        <pc:picChg chg="add mod">
          <ac:chgData name="Sreelesh Sreenivasan" userId="6ce93406-93cc-4d05-8cef-b5419bd8c87f" providerId="ADAL" clId="{E72384B4-68EF-4D23-AAEB-83D25B7600E5}" dt="2023-10-11T06:40:10.567" v="655"/>
          <ac:picMkLst>
            <pc:docMk/>
            <pc:sldMk cId="2738713930" sldId="306"/>
            <ac:picMk id="36" creationId="{128D4538-06A5-97F3-62E5-84120BB074F9}"/>
          </ac:picMkLst>
        </pc:picChg>
        <pc:picChg chg="add mod">
          <ac:chgData name="Sreelesh Sreenivasan" userId="6ce93406-93cc-4d05-8cef-b5419bd8c87f" providerId="ADAL" clId="{E72384B4-68EF-4D23-AAEB-83D25B7600E5}" dt="2023-10-11T06:40:10.567" v="655"/>
          <ac:picMkLst>
            <pc:docMk/>
            <pc:sldMk cId="2738713930" sldId="306"/>
            <ac:picMk id="37" creationId="{241D16E2-7762-ACB9-D971-A2EFC8AE3E68}"/>
          </ac:picMkLst>
        </pc:picChg>
        <pc:picChg chg="add mod">
          <ac:chgData name="Sreelesh Sreenivasan" userId="6ce93406-93cc-4d05-8cef-b5419bd8c87f" providerId="ADAL" clId="{E72384B4-68EF-4D23-AAEB-83D25B7600E5}" dt="2023-10-11T06:40:10.567" v="655"/>
          <ac:picMkLst>
            <pc:docMk/>
            <pc:sldMk cId="2738713930" sldId="306"/>
            <ac:picMk id="38" creationId="{80C9436E-7510-26A1-C992-0BFE7DEACDD4}"/>
          </ac:picMkLst>
        </pc:picChg>
        <pc:picChg chg="add mod">
          <ac:chgData name="Sreelesh Sreenivasan" userId="6ce93406-93cc-4d05-8cef-b5419bd8c87f" providerId="ADAL" clId="{E72384B4-68EF-4D23-AAEB-83D25B7600E5}" dt="2023-10-11T06:40:10.567" v="655"/>
          <ac:picMkLst>
            <pc:docMk/>
            <pc:sldMk cId="2738713930" sldId="306"/>
            <ac:picMk id="39" creationId="{60687CB1-0682-FD62-1333-2832933FA4E3}"/>
          </ac:picMkLst>
        </pc:picChg>
        <pc:picChg chg="add mod">
          <ac:chgData name="Sreelesh Sreenivasan" userId="6ce93406-93cc-4d05-8cef-b5419bd8c87f" providerId="ADAL" clId="{E72384B4-68EF-4D23-AAEB-83D25B7600E5}" dt="2023-10-11T06:40:10.567" v="655"/>
          <ac:picMkLst>
            <pc:docMk/>
            <pc:sldMk cId="2738713930" sldId="306"/>
            <ac:picMk id="46" creationId="{16F36E37-C478-BC80-03DE-19C208AD451B}"/>
          </ac:picMkLst>
        </pc:picChg>
        <pc:picChg chg="add mod">
          <ac:chgData name="Sreelesh Sreenivasan" userId="6ce93406-93cc-4d05-8cef-b5419bd8c87f" providerId="ADAL" clId="{E72384B4-68EF-4D23-AAEB-83D25B7600E5}" dt="2023-10-11T06:40:10.567" v="655"/>
          <ac:picMkLst>
            <pc:docMk/>
            <pc:sldMk cId="2738713930" sldId="306"/>
            <ac:picMk id="47" creationId="{2AF1F6A9-D709-FDF2-8195-0DDAC7569E97}"/>
          </ac:picMkLst>
        </pc:picChg>
      </pc:sldChg>
      <pc:sldMasterChg chg="addSp delSp modSp mod">
        <pc:chgData name="Sreelesh Sreenivasan" userId="6ce93406-93cc-4d05-8cef-b5419bd8c87f" providerId="ADAL" clId="{E72384B4-68EF-4D23-AAEB-83D25B7600E5}" dt="2023-10-11T03:16:34.329" v="58"/>
        <pc:sldMasterMkLst>
          <pc:docMk/>
          <pc:sldMasterMk cId="504562018" sldId="2147483648"/>
        </pc:sldMasterMkLst>
        <pc:spChg chg="mod">
          <ac:chgData name="Sreelesh Sreenivasan" userId="6ce93406-93cc-4d05-8cef-b5419bd8c87f" providerId="ADAL" clId="{E72384B4-68EF-4D23-AAEB-83D25B7600E5}" dt="2023-10-11T03:16:34.086" v="1" actId="948"/>
          <ac:spMkLst>
            <pc:docMk/>
            <pc:sldMasterMk cId="504562018" sldId="2147483648"/>
            <ac:spMk id="2" creationId="{FB54C084-0757-453C-8565-660590FDD964}"/>
          </ac:spMkLst>
        </pc:spChg>
        <pc:spChg chg="add del mod modVis">
          <ac:chgData name="Sreelesh Sreenivasan" userId="6ce93406-93cc-4d05-8cef-b5419bd8c87f" providerId="ADAL" clId="{E72384B4-68EF-4D23-AAEB-83D25B7600E5}" dt="2023-10-11T03:16:34.255" v="42"/>
          <ac:spMkLst>
            <pc:docMk/>
            <pc:sldMasterMk cId="504562018" sldId="2147483648"/>
            <ac:spMk id="7" creationId="{4651C9E6-6C81-71E6-A6F8-C6CFD7411E87}"/>
          </ac:spMkLst>
        </pc:spChg>
        <pc:graphicFrameChg chg="add mod ord modVis replST">
          <ac:chgData name="Sreelesh Sreenivasan" userId="6ce93406-93cc-4d05-8cef-b5419bd8c87f" providerId="ADAL" clId="{E72384B4-68EF-4D23-AAEB-83D25B7600E5}" dt="2023-10-11T03:16:34.329" v="58"/>
          <ac:graphicFrameMkLst>
            <pc:docMk/>
            <pc:sldMasterMk cId="504562018" sldId="2147483648"/>
            <ac:graphicFrameMk id="8" creationId="{0BDD1078-1705-70B1-B347-8FB6E71D191A}"/>
          </ac:graphicFrameMkLst>
        </pc:graphicFrame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tx2"/>
            </a:solidFill>
            <a:ln>
              <a:noFill/>
            </a:ln>
            <a:effectLst/>
          </c:spPr>
          <c:invertIfNegative val="0"/>
          <c:cat>
            <c:strRef>
              <c:f>Sheet1!$A$2:$A$4</c:f>
              <c:strCache>
                <c:ptCount val="3"/>
                <c:pt idx="0">
                  <c:v>Category 1</c:v>
                </c:pt>
                <c:pt idx="1">
                  <c:v>Category 2</c:v>
                </c:pt>
                <c:pt idx="2">
                  <c:v>Category 3</c:v>
                </c:pt>
              </c:strCache>
            </c:strRef>
          </c:cat>
          <c:val>
            <c:numRef>
              <c:f>Sheet1!$B$2:$B$4</c:f>
              <c:numCache>
                <c:formatCode>General</c:formatCode>
                <c:ptCount val="3"/>
                <c:pt idx="0">
                  <c:v>4.3</c:v>
                </c:pt>
                <c:pt idx="1">
                  <c:v>2.5</c:v>
                </c:pt>
                <c:pt idx="2">
                  <c:v>3.5</c:v>
                </c:pt>
              </c:numCache>
            </c:numRef>
          </c:val>
          <c:extLst>
            <c:ext xmlns:c16="http://schemas.microsoft.com/office/drawing/2014/chart" uri="{C3380CC4-5D6E-409C-BE32-E72D297353CC}">
              <c16:uniqueId val="{00000000-FA7E-42E9-85A1-E2CD41B56ACF}"/>
            </c:ext>
          </c:extLst>
        </c:ser>
        <c:ser>
          <c:idx val="1"/>
          <c:order val="1"/>
          <c:tx>
            <c:strRef>
              <c:f>Sheet1!$C$1</c:f>
              <c:strCache>
                <c:ptCount val="1"/>
                <c:pt idx="0">
                  <c:v>Series 2</c:v>
                </c:pt>
              </c:strCache>
            </c:strRef>
          </c:tx>
          <c:spPr>
            <a:solidFill>
              <a:schemeClr val="accent1"/>
            </a:solidFill>
            <a:ln>
              <a:noFill/>
            </a:ln>
            <a:effectLst/>
          </c:spPr>
          <c:invertIfNegative val="0"/>
          <c:cat>
            <c:strRef>
              <c:f>Sheet1!$A$2:$A$4</c:f>
              <c:strCache>
                <c:ptCount val="3"/>
                <c:pt idx="0">
                  <c:v>Category 1</c:v>
                </c:pt>
                <c:pt idx="1">
                  <c:v>Category 2</c:v>
                </c:pt>
                <c:pt idx="2">
                  <c:v>Category 3</c:v>
                </c:pt>
              </c:strCache>
            </c:strRef>
          </c:cat>
          <c:val>
            <c:numRef>
              <c:f>Sheet1!$C$2:$C$4</c:f>
              <c:numCache>
                <c:formatCode>General</c:formatCode>
                <c:ptCount val="3"/>
                <c:pt idx="0">
                  <c:v>2.4</c:v>
                </c:pt>
                <c:pt idx="1">
                  <c:v>4.4000000000000004</c:v>
                </c:pt>
                <c:pt idx="2">
                  <c:v>1.8</c:v>
                </c:pt>
              </c:numCache>
            </c:numRef>
          </c:val>
          <c:extLst>
            <c:ext xmlns:c16="http://schemas.microsoft.com/office/drawing/2014/chart" uri="{C3380CC4-5D6E-409C-BE32-E72D297353CC}">
              <c16:uniqueId val="{00000001-FA7E-42E9-85A1-E2CD41B56ACF}"/>
            </c:ext>
          </c:extLst>
        </c:ser>
        <c:ser>
          <c:idx val="2"/>
          <c:order val="2"/>
          <c:tx>
            <c:strRef>
              <c:f>Sheet1!$D$1</c:f>
              <c:strCache>
                <c:ptCount val="1"/>
                <c:pt idx="0">
                  <c:v>Series 3</c:v>
                </c:pt>
              </c:strCache>
            </c:strRef>
          </c:tx>
          <c:spPr>
            <a:solidFill>
              <a:schemeClr val="accent2"/>
            </a:solidFill>
            <a:ln>
              <a:noFill/>
            </a:ln>
            <a:effectLst/>
          </c:spPr>
          <c:invertIfNegative val="0"/>
          <c:cat>
            <c:strRef>
              <c:f>Sheet1!$A$2:$A$4</c:f>
              <c:strCache>
                <c:ptCount val="3"/>
                <c:pt idx="0">
                  <c:v>Category 1</c:v>
                </c:pt>
                <c:pt idx="1">
                  <c:v>Category 2</c:v>
                </c:pt>
                <c:pt idx="2">
                  <c:v>Category 3</c:v>
                </c:pt>
              </c:strCache>
            </c:strRef>
          </c:cat>
          <c:val>
            <c:numRef>
              <c:f>Sheet1!$D$2:$D$4</c:f>
              <c:numCache>
                <c:formatCode>General</c:formatCode>
                <c:ptCount val="3"/>
                <c:pt idx="0">
                  <c:v>2</c:v>
                </c:pt>
                <c:pt idx="1">
                  <c:v>2</c:v>
                </c:pt>
                <c:pt idx="2">
                  <c:v>3</c:v>
                </c:pt>
              </c:numCache>
            </c:numRef>
          </c:val>
          <c:extLst>
            <c:ext xmlns:c16="http://schemas.microsoft.com/office/drawing/2014/chart" uri="{C3380CC4-5D6E-409C-BE32-E72D297353CC}">
              <c16:uniqueId val="{00000002-FA7E-42E9-85A1-E2CD41B56ACF}"/>
            </c:ext>
          </c:extLst>
        </c:ser>
        <c:ser>
          <c:idx val="3"/>
          <c:order val="3"/>
          <c:tx>
            <c:strRef>
              <c:f>Sheet1!$E$1</c:f>
              <c:strCache>
                <c:ptCount val="1"/>
                <c:pt idx="0">
                  <c:v>Series 4</c:v>
                </c:pt>
              </c:strCache>
            </c:strRef>
          </c:tx>
          <c:spPr>
            <a:solidFill>
              <a:schemeClr val="accent3"/>
            </a:solidFill>
            <a:ln>
              <a:noFill/>
            </a:ln>
            <a:effectLst/>
          </c:spPr>
          <c:invertIfNegative val="0"/>
          <c:cat>
            <c:strRef>
              <c:f>Sheet1!$A$2:$A$4</c:f>
              <c:strCache>
                <c:ptCount val="3"/>
                <c:pt idx="0">
                  <c:v>Category 1</c:v>
                </c:pt>
                <c:pt idx="1">
                  <c:v>Category 2</c:v>
                </c:pt>
                <c:pt idx="2">
                  <c:v>Category 3</c:v>
                </c:pt>
              </c:strCache>
            </c:strRef>
          </c:cat>
          <c:val>
            <c:numRef>
              <c:f>Sheet1!$E$2:$E$4</c:f>
              <c:numCache>
                <c:formatCode>General</c:formatCode>
                <c:ptCount val="3"/>
                <c:pt idx="0">
                  <c:v>3</c:v>
                </c:pt>
                <c:pt idx="1">
                  <c:v>2.4</c:v>
                </c:pt>
                <c:pt idx="2">
                  <c:v>4</c:v>
                </c:pt>
              </c:numCache>
            </c:numRef>
          </c:val>
          <c:extLst>
            <c:ext xmlns:c16="http://schemas.microsoft.com/office/drawing/2014/chart" uri="{C3380CC4-5D6E-409C-BE32-E72D297353CC}">
              <c16:uniqueId val="{00000003-FA7E-42E9-85A1-E2CD41B56ACF}"/>
            </c:ext>
          </c:extLst>
        </c:ser>
        <c:dLbls>
          <c:showLegendKey val="0"/>
          <c:showVal val="0"/>
          <c:showCatName val="0"/>
          <c:showSerName val="0"/>
          <c:showPercent val="0"/>
          <c:showBubbleSize val="0"/>
        </c:dLbls>
        <c:gapWidth val="219"/>
        <c:overlap val="-27"/>
        <c:axId val="459499776"/>
        <c:axId val="459513856"/>
      </c:barChart>
      <c:catAx>
        <c:axId val="459499776"/>
        <c:scaling>
          <c:orientation val="minMax"/>
        </c:scaling>
        <c:delete val="1"/>
        <c:axPos val="b"/>
        <c:numFmt formatCode="General" sourceLinked="1"/>
        <c:majorTickMark val="none"/>
        <c:minorTickMark val="none"/>
        <c:tickLblPos val="nextTo"/>
        <c:crossAx val="459513856"/>
        <c:crosses val="autoZero"/>
        <c:auto val="1"/>
        <c:lblAlgn val="ctr"/>
        <c:lblOffset val="100"/>
        <c:noMultiLvlLbl val="0"/>
      </c:catAx>
      <c:valAx>
        <c:axId val="459513856"/>
        <c:scaling>
          <c:orientation val="minMax"/>
        </c:scaling>
        <c:delete val="1"/>
        <c:axPos val="l"/>
        <c:numFmt formatCode="General" sourceLinked="1"/>
        <c:majorTickMark val="none"/>
        <c:minorTickMark val="none"/>
        <c:tickLblPos val="nextTo"/>
        <c:crossAx val="45949977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9C5D273-E120-4E22-9F56-E55E80E46713}" type="doc">
      <dgm:prSet loTypeId="urn:microsoft.com/office/officeart/2005/8/layout/list1" loCatId="list" qsTypeId="urn:microsoft.com/office/officeart/2005/8/quickstyle/simple1" qsCatId="simple" csTypeId="urn:microsoft.com/office/officeart/2005/8/colors/colorful5" csCatId="colorful" phldr="1"/>
      <dgm:spPr/>
      <dgm:t>
        <a:bodyPr/>
        <a:lstStyle/>
        <a:p>
          <a:endParaRPr lang="en-IN"/>
        </a:p>
      </dgm:t>
    </dgm:pt>
    <dgm:pt modelId="{6DB7A897-E55A-4C2A-9A20-946F5369E26B}">
      <dgm:prSet phldrT="[Text]"/>
      <dgm:spPr/>
      <dgm:t>
        <a:bodyPr/>
        <a:lstStyle/>
        <a:p>
          <a:pPr>
            <a:buClrTx/>
            <a:buSzTx/>
            <a:buFont typeface="Arial" panose="020B0604020202020204" pitchFamily="34" charset="0"/>
            <a:buChar char="•"/>
          </a:pPr>
          <a:r>
            <a:rPr lang="en-US" dirty="0">
              <a:solidFill>
                <a:schemeClr val="bg1"/>
              </a:solidFill>
              <a:latin typeface="Gill Sans MT" panose="020B0502020104020203" pitchFamily="34" charset="0"/>
            </a:rPr>
            <a:t>Executive Summary</a:t>
          </a:r>
          <a:endParaRPr lang="en-IN" dirty="0"/>
        </a:p>
      </dgm:t>
    </dgm:pt>
    <dgm:pt modelId="{DF8D64EC-FDF5-42FC-AF58-7D9ED99C1DF6}" type="parTrans" cxnId="{77D43C04-6CDD-4BA1-B76F-E39E9B7DF635}">
      <dgm:prSet/>
      <dgm:spPr/>
      <dgm:t>
        <a:bodyPr/>
        <a:lstStyle/>
        <a:p>
          <a:endParaRPr lang="en-IN"/>
        </a:p>
      </dgm:t>
    </dgm:pt>
    <dgm:pt modelId="{D5AE456A-3097-4EFF-8C9C-CBB0EF079A0E}" type="sibTrans" cxnId="{77D43C04-6CDD-4BA1-B76F-E39E9B7DF635}">
      <dgm:prSet/>
      <dgm:spPr/>
      <dgm:t>
        <a:bodyPr/>
        <a:lstStyle/>
        <a:p>
          <a:endParaRPr lang="en-IN"/>
        </a:p>
      </dgm:t>
    </dgm:pt>
    <dgm:pt modelId="{660742A3-5EEA-4D58-800E-19B0B4DECE4A}">
      <dgm:prSet phldrT="[Text]"/>
      <dgm:spPr/>
      <dgm:t>
        <a:bodyPr/>
        <a:lstStyle/>
        <a:p>
          <a:pPr>
            <a:buClrTx/>
            <a:buSzTx/>
            <a:buFont typeface="Arial" panose="020B0604020202020204" pitchFamily="34" charset="0"/>
            <a:buChar char="•"/>
          </a:pPr>
          <a:r>
            <a:rPr kumimoji="0" lang="en-US" b="0" i="0" u="none" strike="noStrike" cap="none" spc="0" normalizeH="0" baseline="0" noProof="0" dirty="0">
              <a:ln>
                <a:noFill/>
              </a:ln>
              <a:solidFill>
                <a:schemeClr val="bg1"/>
              </a:solidFill>
              <a:effectLst/>
              <a:uLnTx/>
              <a:uFillTx/>
              <a:latin typeface="Gill Sans MT" panose="020B0502020104020203" pitchFamily="34" charset="0"/>
            </a:rPr>
            <a:t>Data Source</a:t>
          </a:r>
          <a:endParaRPr lang="en-IN" dirty="0"/>
        </a:p>
      </dgm:t>
    </dgm:pt>
    <dgm:pt modelId="{7AA0C06B-E767-43D9-80C7-004D870EF55F}" type="parTrans" cxnId="{F2B618EC-C2CE-4F84-8C7B-3426C8ABFCE3}">
      <dgm:prSet/>
      <dgm:spPr/>
      <dgm:t>
        <a:bodyPr/>
        <a:lstStyle/>
        <a:p>
          <a:endParaRPr lang="en-IN"/>
        </a:p>
      </dgm:t>
    </dgm:pt>
    <dgm:pt modelId="{BA042289-ED05-4A44-9DDB-FCEFFD44D69F}" type="sibTrans" cxnId="{F2B618EC-C2CE-4F84-8C7B-3426C8ABFCE3}">
      <dgm:prSet/>
      <dgm:spPr/>
      <dgm:t>
        <a:bodyPr/>
        <a:lstStyle/>
        <a:p>
          <a:endParaRPr lang="en-IN"/>
        </a:p>
      </dgm:t>
    </dgm:pt>
    <dgm:pt modelId="{786940F5-90A1-4714-8558-8B037586C670}">
      <dgm:prSet phldrT="[Text]"/>
      <dgm:spPr/>
      <dgm:t>
        <a:bodyPr/>
        <a:lstStyle/>
        <a:p>
          <a:pPr>
            <a:buClrTx/>
            <a:buSzTx/>
            <a:buFont typeface="Arial" panose="020B0604020202020204" pitchFamily="34" charset="0"/>
            <a:buChar char="•"/>
          </a:pPr>
          <a:r>
            <a:rPr lang="en-US" dirty="0">
              <a:solidFill>
                <a:schemeClr val="bg1"/>
              </a:solidFill>
              <a:latin typeface="Gill Sans MT" panose="020B0502020104020203" pitchFamily="34" charset="0"/>
            </a:rPr>
            <a:t>Exploratory Data Analysis</a:t>
          </a:r>
          <a:endParaRPr lang="en-IN" dirty="0"/>
        </a:p>
      </dgm:t>
    </dgm:pt>
    <dgm:pt modelId="{38D0DE79-B563-436E-9D62-8C9F7E594EF4}" type="parTrans" cxnId="{72326ED6-F36F-414D-BF61-1B0A253A9288}">
      <dgm:prSet/>
      <dgm:spPr/>
      <dgm:t>
        <a:bodyPr/>
        <a:lstStyle/>
        <a:p>
          <a:endParaRPr lang="en-IN"/>
        </a:p>
      </dgm:t>
    </dgm:pt>
    <dgm:pt modelId="{4746F552-1C0C-490D-B66B-325B6C97D1D1}" type="sibTrans" cxnId="{72326ED6-F36F-414D-BF61-1B0A253A9288}">
      <dgm:prSet/>
      <dgm:spPr/>
      <dgm:t>
        <a:bodyPr/>
        <a:lstStyle/>
        <a:p>
          <a:endParaRPr lang="en-IN"/>
        </a:p>
      </dgm:t>
    </dgm:pt>
    <dgm:pt modelId="{F6BDA1CF-8857-4E34-8002-DF80C18327AD}">
      <dgm:prSet/>
      <dgm:spPr/>
      <dgm:t>
        <a:bodyPr/>
        <a:lstStyle/>
        <a:p>
          <a:r>
            <a:rPr lang="en-IN" dirty="0">
              <a:latin typeface="Gill Sans MT" panose="020B0502020104020203" pitchFamily="34" charset="0"/>
            </a:rPr>
            <a:t>Abstract &amp; Problems</a:t>
          </a:r>
        </a:p>
      </dgm:t>
    </dgm:pt>
    <dgm:pt modelId="{3F282056-6ABE-468A-A2B3-B0AA0340D047}" type="parTrans" cxnId="{AB51104A-80C3-44DE-98CE-E99744C964E9}">
      <dgm:prSet/>
      <dgm:spPr/>
      <dgm:t>
        <a:bodyPr/>
        <a:lstStyle/>
        <a:p>
          <a:endParaRPr lang="en-IN"/>
        </a:p>
      </dgm:t>
    </dgm:pt>
    <dgm:pt modelId="{F25C2D25-538C-45AF-86AF-A7D3A0444D19}" type="sibTrans" cxnId="{AB51104A-80C3-44DE-98CE-E99744C964E9}">
      <dgm:prSet/>
      <dgm:spPr/>
      <dgm:t>
        <a:bodyPr/>
        <a:lstStyle/>
        <a:p>
          <a:endParaRPr lang="en-IN"/>
        </a:p>
      </dgm:t>
    </dgm:pt>
    <dgm:pt modelId="{AF52268E-AF95-4952-9AC9-95D2B410661B}">
      <dgm:prSet/>
      <dgm:spPr/>
      <dgm:t>
        <a:bodyPr/>
        <a:lstStyle/>
        <a:p>
          <a:r>
            <a:rPr lang="en-IN" dirty="0"/>
            <a:t>Methodology</a:t>
          </a:r>
        </a:p>
      </dgm:t>
    </dgm:pt>
    <dgm:pt modelId="{438F69DE-E5A8-46E1-8B93-B766D4B76C32}" type="parTrans" cxnId="{FDF18E00-3F00-4953-935F-F2FDF4A599A0}">
      <dgm:prSet/>
      <dgm:spPr/>
      <dgm:t>
        <a:bodyPr/>
        <a:lstStyle/>
        <a:p>
          <a:endParaRPr lang="en-IN"/>
        </a:p>
      </dgm:t>
    </dgm:pt>
    <dgm:pt modelId="{7ABD5B5D-B4E3-4C64-91B8-8FB0BC5D1466}" type="sibTrans" cxnId="{FDF18E00-3F00-4953-935F-F2FDF4A599A0}">
      <dgm:prSet/>
      <dgm:spPr/>
      <dgm:t>
        <a:bodyPr/>
        <a:lstStyle/>
        <a:p>
          <a:endParaRPr lang="en-IN"/>
        </a:p>
      </dgm:t>
    </dgm:pt>
    <dgm:pt modelId="{112C4839-DB3C-48D1-9EB5-20D0CAEAD91E}">
      <dgm:prSet/>
      <dgm:spPr/>
      <dgm:t>
        <a:bodyPr/>
        <a:lstStyle/>
        <a:p>
          <a:pPr>
            <a:buClrTx/>
            <a:buSzTx/>
            <a:buFont typeface="Arial" panose="020B0604020202020204" pitchFamily="34" charset="0"/>
            <a:buChar char="•"/>
          </a:pPr>
          <a:r>
            <a:rPr lang="en-US">
              <a:solidFill>
                <a:schemeClr val="bg1"/>
              </a:solidFill>
              <a:latin typeface="Gill Sans MT" panose="020B0502020104020203" pitchFamily="34" charset="0"/>
            </a:rPr>
            <a:t>Evaluation/Results</a:t>
          </a:r>
          <a:endParaRPr lang="en-IN" dirty="0"/>
        </a:p>
      </dgm:t>
    </dgm:pt>
    <dgm:pt modelId="{5438A7EE-7921-4AB3-B618-DD7BE5BE809E}" type="parTrans" cxnId="{C6EA5835-AB12-47FF-8CF3-8F9CF9BAFD6B}">
      <dgm:prSet/>
      <dgm:spPr/>
      <dgm:t>
        <a:bodyPr/>
        <a:lstStyle/>
        <a:p>
          <a:endParaRPr lang="en-IN"/>
        </a:p>
      </dgm:t>
    </dgm:pt>
    <dgm:pt modelId="{7C1B1696-C807-4CD9-8BA5-A5B1D642C041}" type="sibTrans" cxnId="{C6EA5835-AB12-47FF-8CF3-8F9CF9BAFD6B}">
      <dgm:prSet/>
      <dgm:spPr/>
      <dgm:t>
        <a:bodyPr/>
        <a:lstStyle/>
        <a:p>
          <a:endParaRPr lang="en-IN"/>
        </a:p>
      </dgm:t>
    </dgm:pt>
    <dgm:pt modelId="{F0245336-2D9A-42A1-8811-DBDB3A96A26B}">
      <dgm:prSet phldrT="[Text]"/>
      <dgm:spPr/>
      <dgm:t>
        <a:bodyPr/>
        <a:lstStyle/>
        <a:p>
          <a:pPr>
            <a:buClrTx/>
            <a:buSzTx/>
            <a:buFont typeface="Arial" panose="020B0604020202020204" pitchFamily="34" charset="0"/>
            <a:buChar char="•"/>
          </a:pPr>
          <a:r>
            <a:rPr lang="en-IN" dirty="0"/>
            <a:t>Business Objectives</a:t>
          </a:r>
        </a:p>
      </dgm:t>
    </dgm:pt>
    <dgm:pt modelId="{7792225F-20E6-4B28-BF7A-00CD99413147}" type="parTrans" cxnId="{B5CED269-F826-49E8-BF9D-680646594856}">
      <dgm:prSet/>
      <dgm:spPr/>
      <dgm:t>
        <a:bodyPr/>
        <a:lstStyle/>
        <a:p>
          <a:endParaRPr lang="en-IN"/>
        </a:p>
      </dgm:t>
    </dgm:pt>
    <dgm:pt modelId="{BAA1FE03-8904-4247-9FF0-651733426C22}" type="sibTrans" cxnId="{B5CED269-F826-49E8-BF9D-680646594856}">
      <dgm:prSet/>
      <dgm:spPr/>
      <dgm:t>
        <a:bodyPr/>
        <a:lstStyle/>
        <a:p>
          <a:endParaRPr lang="en-IN"/>
        </a:p>
      </dgm:t>
    </dgm:pt>
    <dgm:pt modelId="{6E26D54C-37A6-4BBD-8432-3B0E0A8EB50C}" type="pres">
      <dgm:prSet presAssocID="{39C5D273-E120-4E22-9F56-E55E80E46713}" presName="linear" presStyleCnt="0">
        <dgm:presLayoutVars>
          <dgm:dir/>
          <dgm:animLvl val="lvl"/>
          <dgm:resizeHandles val="exact"/>
        </dgm:presLayoutVars>
      </dgm:prSet>
      <dgm:spPr/>
    </dgm:pt>
    <dgm:pt modelId="{6AA53B89-B683-4814-AD01-09262E31FC80}" type="pres">
      <dgm:prSet presAssocID="{6DB7A897-E55A-4C2A-9A20-946F5369E26B}" presName="parentLin" presStyleCnt="0"/>
      <dgm:spPr/>
    </dgm:pt>
    <dgm:pt modelId="{06AADEC8-6465-4C94-B748-0B1F1EB149B0}" type="pres">
      <dgm:prSet presAssocID="{6DB7A897-E55A-4C2A-9A20-946F5369E26B}" presName="parentLeftMargin" presStyleLbl="node1" presStyleIdx="0" presStyleCnt="7"/>
      <dgm:spPr/>
    </dgm:pt>
    <dgm:pt modelId="{B5FE7D0F-124A-476E-98D4-FD739E72B9D7}" type="pres">
      <dgm:prSet presAssocID="{6DB7A897-E55A-4C2A-9A20-946F5369E26B}" presName="parentText" presStyleLbl="node1" presStyleIdx="0" presStyleCnt="7">
        <dgm:presLayoutVars>
          <dgm:chMax val="0"/>
          <dgm:bulletEnabled val="1"/>
        </dgm:presLayoutVars>
      </dgm:prSet>
      <dgm:spPr/>
    </dgm:pt>
    <dgm:pt modelId="{27F4FB43-BD47-40A5-A9A9-D0370BAE4A89}" type="pres">
      <dgm:prSet presAssocID="{6DB7A897-E55A-4C2A-9A20-946F5369E26B}" presName="negativeSpace" presStyleCnt="0"/>
      <dgm:spPr/>
    </dgm:pt>
    <dgm:pt modelId="{5909798C-5213-4A39-B9E7-D3F678F89C19}" type="pres">
      <dgm:prSet presAssocID="{6DB7A897-E55A-4C2A-9A20-946F5369E26B}" presName="childText" presStyleLbl="conFgAcc1" presStyleIdx="0" presStyleCnt="7">
        <dgm:presLayoutVars>
          <dgm:bulletEnabled val="1"/>
        </dgm:presLayoutVars>
      </dgm:prSet>
      <dgm:spPr/>
    </dgm:pt>
    <dgm:pt modelId="{9A82FE00-D9FA-4168-B88E-0EEA3FA07FF6}" type="pres">
      <dgm:prSet presAssocID="{D5AE456A-3097-4EFF-8C9C-CBB0EF079A0E}" presName="spaceBetweenRectangles" presStyleCnt="0"/>
      <dgm:spPr/>
    </dgm:pt>
    <dgm:pt modelId="{385B19C1-3B24-4C5B-BCA3-2A678638BF5E}" type="pres">
      <dgm:prSet presAssocID="{F6BDA1CF-8857-4E34-8002-DF80C18327AD}" presName="parentLin" presStyleCnt="0"/>
      <dgm:spPr/>
    </dgm:pt>
    <dgm:pt modelId="{839131AD-43E8-43CA-9FFF-CCBEE41C364B}" type="pres">
      <dgm:prSet presAssocID="{F6BDA1CF-8857-4E34-8002-DF80C18327AD}" presName="parentLeftMargin" presStyleLbl="node1" presStyleIdx="0" presStyleCnt="7"/>
      <dgm:spPr/>
    </dgm:pt>
    <dgm:pt modelId="{F6DFDE66-D5F5-4891-B71E-67C9ACF47A66}" type="pres">
      <dgm:prSet presAssocID="{F6BDA1CF-8857-4E34-8002-DF80C18327AD}" presName="parentText" presStyleLbl="node1" presStyleIdx="1" presStyleCnt="7">
        <dgm:presLayoutVars>
          <dgm:chMax val="0"/>
          <dgm:bulletEnabled val="1"/>
        </dgm:presLayoutVars>
      </dgm:prSet>
      <dgm:spPr/>
    </dgm:pt>
    <dgm:pt modelId="{D28CF1FF-9FBF-49F6-910E-2777D4E882F6}" type="pres">
      <dgm:prSet presAssocID="{F6BDA1CF-8857-4E34-8002-DF80C18327AD}" presName="negativeSpace" presStyleCnt="0"/>
      <dgm:spPr/>
    </dgm:pt>
    <dgm:pt modelId="{C70327C1-E8BC-4B00-9FA9-72346D0D7C85}" type="pres">
      <dgm:prSet presAssocID="{F6BDA1CF-8857-4E34-8002-DF80C18327AD}" presName="childText" presStyleLbl="conFgAcc1" presStyleIdx="1" presStyleCnt="7">
        <dgm:presLayoutVars>
          <dgm:bulletEnabled val="1"/>
        </dgm:presLayoutVars>
      </dgm:prSet>
      <dgm:spPr/>
    </dgm:pt>
    <dgm:pt modelId="{9AA53490-60C7-43C2-A2D2-E2213ED97696}" type="pres">
      <dgm:prSet presAssocID="{F25C2D25-538C-45AF-86AF-A7D3A0444D19}" presName="spaceBetweenRectangles" presStyleCnt="0"/>
      <dgm:spPr/>
    </dgm:pt>
    <dgm:pt modelId="{05468FF0-53B1-457D-8112-232E2B861F2F}" type="pres">
      <dgm:prSet presAssocID="{F0245336-2D9A-42A1-8811-DBDB3A96A26B}" presName="parentLin" presStyleCnt="0"/>
      <dgm:spPr/>
    </dgm:pt>
    <dgm:pt modelId="{CBEB4CD1-F907-4539-A7AD-532B5E9F61A0}" type="pres">
      <dgm:prSet presAssocID="{F0245336-2D9A-42A1-8811-DBDB3A96A26B}" presName="parentLeftMargin" presStyleLbl="node1" presStyleIdx="1" presStyleCnt="7"/>
      <dgm:spPr/>
    </dgm:pt>
    <dgm:pt modelId="{D5DEFE28-B0AD-4454-82DF-B2D21F6C40EF}" type="pres">
      <dgm:prSet presAssocID="{F0245336-2D9A-42A1-8811-DBDB3A96A26B}" presName="parentText" presStyleLbl="node1" presStyleIdx="2" presStyleCnt="7">
        <dgm:presLayoutVars>
          <dgm:chMax val="0"/>
          <dgm:bulletEnabled val="1"/>
        </dgm:presLayoutVars>
      </dgm:prSet>
      <dgm:spPr/>
    </dgm:pt>
    <dgm:pt modelId="{62764611-D7BE-4B7A-B85B-3F122F560539}" type="pres">
      <dgm:prSet presAssocID="{F0245336-2D9A-42A1-8811-DBDB3A96A26B}" presName="negativeSpace" presStyleCnt="0"/>
      <dgm:spPr/>
    </dgm:pt>
    <dgm:pt modelId="{923C54E3-7BB0-436D-B063-9D5A47BE2B47}" type="pres">
      <dgm:prSet presAssocID="{F0245336-2D9A-42A1-8811-DBDB3A96A26B}" presName="childText" presStyleLbl="conFgAcc1" presStyleIdx="2" presStyleCnt="7">
        <dgm:presLayoutVars>
          <dgm:bulletEnabled val="1"/>
        </dgm:presLayoutVars>
      </dgm:prSet>
      <dgm:spPr/>
    </dgm:pt>
    <dgm:pt modelId="{E300420E-89E3-4CE3-9A3E-861CC2496310}" type="pres">
      <dgm:prSet presAssocID="{BAA1FE03-8904-4247-9FF0-651733426C22}" presName="spaceBetweenRectangles" presStyleCnt="0"/>
      <dgm:spPr/>
    </dgm:pt>
    <dgm:pt modelId="{A4EA3840-9309-4E70-9CEF-16F8A49A364E}" type="pres">
      <dgm:prSet presAssocID="{660742A3-5EEA-4D58-800E-19B0B4DECE4A}" presName="parentLin" presStyleCnt="0"/>
      <dgm:spPr/>
    </dgm:pt>
    <dgm:pt modelId="{3DAFD24E-9650-490E-9221-593BDBA1CCD6}" type="pres">
      <dgm:prSet presAssocID="{660742A3-5EEA-4D58-800E-19B0B4DECE4A}" presName="parentLeftMargin" presStyleLbl="node1" presStyleIdx="2" presStyleCnt="7"/>
      <dgm:spPr/>
    </dgm:pt>
    <dgm:pt modelId="{7F3CCFBC-34A3-44D3-8636-53E3FC93852E}" type="pres">
      <dgm:prSet presAssocID="{660742A3-5EEA-4D58-800E-19B0B4DECE4A}" presName="parentText" presStyleLbl="node1" presStyleIdx="3" presStyleCnt="7">
        <dgm:presLayoutVars>
          <dgm:chMax val="0"/>
          <dgm:bulletEnabled val="1"/>
        </dgm:presLayoutVars>
      </dgm:prSet>
      <dgm:spPr/>
    </dgm:pt>
    <dgm:pt modelId="{F6783E1A-E42B-45E4-ADF2-848A82BE04E3}" type="pres">
      <dgm:prSet presAssocID="{660742A3-5EEA-4D58-800E-19B0B4DECE4A}" presName="negativeSpace" presStyleCnt="0"/>
      <dgm:spPr/>
    </dgm:pt>
    <dgm:pt modelId="{D0E0EB18-7A3B-44A1-AE1A-870FCEBD7754}" type="pres">
      <dgm:prSet presAssocID="{660742A3-5EEA-4D58-800E-19B0B4DECE4A}" presName="childText" presStyleLbl="conFgAcc1" presStyleIdx="3" presStyleCnt="7">
        <dgm:presLayoutVars>
          <dgm:bulletEnabled val="1"/>
        </dgm:presLayoutVars>
      </dgm:prSet>
      <dgm:spPr/>
    </dgm:pt>
    <dgm:pt modelId="{F65D2242-6854-46AC-AC74-AF39AF8139D7}" type="pres">
      <dgm:prSet presAssocID="{BA042289-ED05-4A44-9DDB-FCEFFD44D69F}" presName="spaceBetweenRectangles" presStyleCnt="0"/>
      <dgm:spPr/>
    </dgm:pt>
    <dgm:pt modelId="{531AF9C9-9DAD-4220-AC0E-17DA41D08F82}" type="pres">
      <dgm:prSet presAssocID="{AF52268E-AF95-4952-9AC9-95D2B410661B}" presName="parentLin" presStyleCnt="0"/>
      <dgm:spPr/>
    </dgm:pt>
    <dgm:pt modelId="{788E5696-CC79-4E72-8567-7282AFD1F4BB}" type="pres">
      <dgm:prSet presAssocID="{AF52268E-AF95-4952-9AC9-95D2B410661B}" presName="parentLeftMargin" presStyleLbl="node1" presStyleIdx="3" presStyleCnt="7"/>
      <dgm:spPr/>
    </dgm:pt>
    <dgm:pt modelId="{498F240C-03D5-468D-8D13-1F4ACE814121}" type="pres">
      <dgm:prSet presAssocID="{AF52268E-AF95-4952-9AC9-95D2B410661B}" presName="parentText" presStyleLbl="node1" presStyleIdx="4" presStyleCnt="7">
        <dgm:presLayoutVars>
          <dgm:chMax val="0"/>
          <dgm:bulletEnabled val="1"/>
        </dgm:presLayoutVars>
      </dgm:prSet>
      <dgm:spPr/>
    </dgm:pt>
    <dgm:pt modelId="{B20D9778-7A96-485C-985D-7CBBF4369924}" type="pres">
      <dgm:prSet presAssocID="{AF52268E-AF95-4952-9AC9-95D2B410661B}" presName="negativeSpace" presStyleCnt="0"/>
      <dgm:spPr/>
    </dgm:pt>
    <dgm:pt modelId="{80484B9F-60E8-4E1F-AE3C-E113A4325730}" type="pres">
      <dgm:prSet presAssocID="{AF52268E-AF95-4952-9AC9-95D2B410661B}" presName="childText" presStyleLbl="conFgAcc1" presStyleIdx="4" presStyleCnt="7">
        <dgm:presLayoutVars>
          <dgm:bulletEnabled val="1"/>
        </dgm:presLayoutVars>
      </dgm:prSet>
      <dgm:spPr/>
    </dgm:pt>
    <dgm:pt modelId="{7636D320-3FBF-462A-8D23-B82D1C8C60D9}" type="pres">
      <dgm:prSet presAssocID="{7ABD5B5D-B4E3-4C64-91B8-8FB0BC5D1466}" presName="spaceBetweenRectangles" presStyleCnt="0"/>
      <dgm:spPr/>
    </dgm:pt>
    <dgm:pt modelId="{1DFEB817-748F-444E-9C8E-DE1E9279E31E}" type="pres">
      <dgm:prSet presAssocID="{786940F5-90A1-4714-8558-8B037586C670}" presName="parentLin" presStyleCnt="0"/>
      <dgm:spPr/>
    </dgm:pt>
    <dgm:pt modelId="{8B7B3CC3-E03F-4F1B-94FE-DB190E308F66}" type="pres">
      <dgm:prSet presAssocID="{786940F5-90A1-4714-8558-8B037586C670}" presName="parentLeftMargin" presStyleLbl="node1" presStyleIdx="4" presStyleCnt="7"/>
      <dgm:spPr/>
    </dgm:pt>
    <dgm:pt modelId="{F0A9FF8D-A054-4D7E-8C80-E315385FCE61}" type="pres">
      <dgm:prSet presAssocID="{786940F5-90A1-4714-8558-8B037586C670}" presName="parentText" presStyleLbl="node1" presStyleIdx="5" presStyleCnt="7">
        <dgm:presLayoutVars>
          <dgm:chMax val="0"/>
          <dgm:bulletEnabled val="1"/>
        </dgm:presLayoutVars>
      </dgm:prSet>
      <dgm:spPr/>
    </dgm:pt>
    <dgm:pt modelId="{4636671F-F36D-4651-A90E-9805007D9E3B}" type="pres">
      <dgm:prSet presAssocID="{786940F5-90A1-4714-8558-8B037586C670}" presName="negativeSpace" presStyleCnt="0"/>
      <dgm:spPr/>
    </dgm:pt>
    <dgm:pt modelId="{1A258B97-FB0D-486A-8FC5-DA2233E158F0}" type="pres">
      <dgm:prSet presAssocID="{786940F5-90A1-4714-8558-8B037586C670}" presName="childText" presStyleLbl="conFgAcc1" presStyleIdx="5" presStyleCnt="7">
        <dgm:presLayoutVars>
          <dgm:bulletEnabled val="1"/>
        </dgm:presLayoutVars>
      </dgm:prSet>
      <dgm:spPr/>
    </dgm:pt>
    <dgm:pt modelId="{8A76508A-82E0-428A-B9C5-88E3136AEB06}" type="pres">
      <dgm:prSet presAssocID="{4746F552-1C0C-490D-B66B-325B6C97D1D1}" presName="spaceBetweenRectangles" presStyleCnt="0"/>
      <dgm:spPr/>
    </dgm:pt>
    <dgm:pt modelId="{204C7C4D-98A4-4BEA-8082-123CE07620D6}" type="pres">
      <dgm:prSet presAssocID="{112C4839-DB3C-48D1-9EB5-20D0CAEAD91E}" presName="parentLin" presStyleCnt="0"/>
      <dgm:spPr/>
    </dgm:pt>
    <dgm:pt modelId="{CBC114FF-DA9B-403D-B427-6C19DCDCCD92}" type="pres">
      <dgm:prSet presAssocID="{112C4839-DB3C-48D1-9EB5-20D0CAEAD91E}" presName="parentLeftMargin" presStyleLbl="node1" presStyleIdx="5" presStyleCnt="7"/>
      <dgm:spPr/>
    </dgm:pt>
    <dgm:pt modelId="{1B53B9A2-7AEF-44E7-879E-5F8F839614B4}" type="pres">
      <dgm:prSet presAssocID="{112C4839-DB3C-48D1-9EB5-20D0CAEAD91E}" presName="parentText" presStyleLbl="node1" presStyleIdx="6" presStyleCnt="7">
        <dgm:presLayoutVars>
          <dgm:chMax val="0"/>
          <dgm:bulletEnabled val="1"/>
        </dgm:presLayoutVars>
      </dgm:prSet>
      <dgm:spPr/>
    </dgm:pt>
    <dgm:pt modelId="{FAA75F71-B987-4817-852E-6C4AB21829DC}" type="pres">
      <dgm:prSet presAssocID="{112C4839-DB3C-48D1-9EB5-20D0CAEAD91E}" presName="negativeSpace" presStyleCnt="0"/>
      <dgm:spPr/>
    </dgm:pt>
    <dgm:pt modelId="{CF333F0D-DD86-47A2-83E9-B8FBC85D028B}" type="pres">
      <dgm:prSet presAssocID="{112C4839-DB3C-48D1-9EB5-20D0CAEAD91E}" presName="childText" presStyleLbl="conFgAcc1" presStyleIdx="6" presStyleCnt="7">
        <dgm:presLayoutVars>
          <dgm:bulletEnabled val="1"/>
        </dgm:presLayoutVars>
      </dgm:prSet>
      <dgm:spPr/>
    </dgm:pt>
  </dgm:ptLst>
  <dgm:cxnLst>
    <dgm:cxn modelId="{FDF18E00-3F00-4953-935F-F2FDF4A599A0}" srcId="{39C5D273-E120-4E22-9F56-E55E80E46713}" destId="{AF52268E-AF95-4952-9AC9-95D2B410661B}" srcOrd="4" destOrd="0" parTransId="{438F69DE-E5A8-46E1-8B93-B766D4B76C32}" sibTransId="{7ABD5B5D-B4E3-4C64-91B8-8FB0BC5D1466}"/>
    <dgm:cxn modelId="{77D43C04-6CDD-4BA1-B76F-E39E9B7DF635}" srcId="{39C5D273-E120-4E22-9F56-E55E80E46713}" destId="{6DB7A897-E55A-4C2A-9A20-946F5369E26B}" srcOrd="0" destOrd="0" parTransId="{DF8D64EC-FDF5-42FC-AF58-7D9ED99C1DF6}" sibTransId="{D5AE456A-3097-4EFF-8C9C-CBB0EF079A0E}"/>
    <dgm:cxn modelId="{FACF5E0E-2264-40A1-B2D4-88B86B6431EB}" type="presOf" srcId="{F0245336-2D9A-42A1-8811-DBDB3A96A26B}" destId="{CBEB4CD1-F907-4539-A7AD-532B5E9F61A0}" srcOrd="0" destOrd="0" presId="urn:microsoft.com/office/officeart/2005/8/layout/list1"/>
    <dgm:cxn modelId="{130ED926-D9D9-40AC-A90C-92B12550EAE0}" type="presOf" srcId="{39C5D273-E120-4E22-9F56-E55E80E46713}" destId="{6E26D54C-37A6-4BBD-8432-3B0E0A8EB50C}" srcOrd="0" destOrd="0" presId="urn:microsoft.com/office/officeart/2005/8/layout/list1"/>
    <dgm:cxn modelId="{0BEC5633-98AC-4C42-A62C-F80351B63225}" type="presOf" srcId="{6DB7A897-E55A-4C2A-9A20-946F5369E26B}" destId="{06AADEC8-6465-4C94-B748-0B1F1EB149B0}" srcOrd="0" destOrd="0" presId="urn:microsoft.com/office/officeart/2005/8/layout/list1"/>
    <dgm:cxn modelId="{C6EA5835-AB12-47FF-8CF3-8F9CF9BAFD6B}" srcId="{39C5D273-E120-4E22-9F56-E55E80E46713}" destId="{112C4839-DB3C-48D1-9EB5-20D0CAEAD91E}" srcOrd="6" destOrd="0" parTransId="{5438A7EE-7921-4AB3-B618-DD7BE5BE809E}" sibTransId="{7C1B1696-C807-4CD9-8BA5-A5B1D642C041}"/>
    <dgm:cxn modelId="{2612935C-8F93-4463-A101-8C8B18C7A9D6}" type="presOf" srcId="{112C4839-DB3C-48D1-9EB5-20D0CAEAD91E}" destId="{1B53B9A2-7AEF-44E7-879E-5F8F839614B4}" srcOrd="1" destOrd="0" presId="urn:microsoft.com/office/officeart/2005/8/layout/list1"/>
    <dgm:cxn modelId="{1EBA7768-0747-4F33-8E9B-5857F4443D8B}" type="presOf" srcId="{786940F5-90A1-4714-8558-8B037586C670}" destId="{8B7B3CC3-E03F-4F1B-94FE-DB190E308F66}" srcOrd="0" destOrd="0" presId="urn:microsoft.com/office/officeart/2005/8/layout/list1"/>
    <dgm:cxn modelId="{B5CED269-F826-49E8-BF9D-680646594856}" srcId="{39C5D273-E120-4E22-9F56-E55E80E46713}" destId="{F0245336-2D9A-42A1-8811-DBDB3A96A26B}" srcOrd="2" destOrd="0" parTransId="{7792225F-20E6-4B28-BF7A-00CD99413147}" sibTransId="{BAA1FE03-8904-4247-9FF0-651733426C22}"/>
    <dgm:cxn modelId="{AB51104A-80C3-44DE-98CE-E99744C964E9}" srcId="{39C5D273-E120-4E22-9F56-E55E80E46713}" destId="{F6BDA1CF-8857-4E34-8002-DF80C18327AD}" srcOrd="1" destOrd="0" parTransId="{3F282056-6ABE-468A-A2B3-B0AA0340D047}" sibTransId="{F25C2D25-538C-45AF-86AF-A7D3A0444D19}"/>
    <dgm:cxn modelId="{E292045A-154B-4971-9C76-B40625211B94}" type="presOf" srcId="{112C4839-DB3C-48D1-9EB5-20D0CAEAD91E}" destId="{CBC114FF-DA9B-403D-B427-6C19DCDCCD92}" srcOrd="0" destOrd="0" presId="urn:microsoft.com/office/officeart/2005/8/layout/list1"/>
    <dgm:cxn modelId="{BB568081-3CA7-4F09-8070-3591DC92DC89}" type="presOf" srcId="{6DB7A897-E55A-4C2A-9A20-946F5369E26B}" destId="{B5FE7D0F-124A-476E-98D4-FD739E72B9D7}" srcOrd="1" destOrd="0" presId="urn:microsoft.com/office/officeart/2005/8/layout/list1"/>
    <dgm:cxn modelId="{918AF78A-9A64-4364-B246-1ECFD43184C8}" type="presOf" srcId="{F6BDA1CF-8857-4E34-8002-DF80C18327AD}" destId="{F6DFDE66-D5F5-4891-B71E-67C9ACF47A66}" srcOrd="1" destOrd="0" presId="urn:microsoft.com/office/officeart/2005/8/layout/list1"/>
    <dgm:cxn modelId="{7C759793-7B6F-4F23-BE72-5BDB0A54CCFC}" type="presOf" srcId="{786940F5-90A1-4714-8558-8B037586C670}" destId="{F0A9FF8D-A054-4D7E-8C80-E315385FCE61}" srcOrd="1" destOrd="0" presId="urn:microsoft.com/office/officeart/2005/8/layout/list1"/>
    <dgm:cxn modelId="{CE39A797-4266-402F-97D0-04EBED6B4AD5}" type="presOf" srcId="{AF52268E-AF95-4952-9AC9-95D2B410661B}" destId="{498F240C-03D5-468D-8D13-1F4ACE814121}" srcOrd="1" destOrd="0" presId="urn:microsoft.com/office/officeart/2005/8/layout/list1"/>
    <dgm:cxn modelId="{7935A7A2-9184-4889-B452-C0BC5EC3299C}" type="presOf" srcId="{AF52268E-AF95-4952-9AC9-95D2B410661B}" destId="{788E5696-CC79-4E72-8567-7282AFD1F4BB}" srcOrd="0" destOrd="0" presId="urn:microsoft.com/office/officeart/2005/8/layout/list1"/>
    <dgm:cxn modelId="{FED5CAAD-81A9-4C98-B586-5FDE3951141C}" type="presOf" srcId="{660742A3-5EEA-4D58-800E-19B0B4DECE4A}" destId="{3DAFD24E-9650-490E-9221-593BDBA1CCD6}" srcOrd="0" destOrd="0" presId="urn:microsoft.com/office/officeart/2005/8/layout/list1"/>
    <dgm:cxn modelId="{72326ED6-F36F-414D-BF61-1B0A253A9288}" srcId="{39C5D273-E120-4E22-9F56-E55E80E46713}" destId="{786940F5-90A1-4714-8558-8B037586C670}" srcOrd="5" destOrd="0" parTransId="{38D0DE79-B563-436E-9D62-8C9F7E594EF4}" sibTransId="{4746F552-1C0C-490D-B66B-325B6C97D1D1}"/>
    <dgm:cxn modelId="{F2E0D6DD-AB07-46EB-8257-6363CC81BB52}" type="presOf" srcId="{F0245336-2D9A-42A1-8811-DBDB3A96A26B}" destId="{D5DEFE28-B0AD-4454-82DF-B2D21F6C40EF}" srcOrd="1" destOrd="0" presId="urn:microsoft.com/office/officeart/2005/8/layout/list1"/>
    <dgm:cxn modelId="{C3BF79E8-1CC6-4C64-86AA-37A89CE759BA}" type="presOf" srcId="{F6BDA1CF-8857-4E34-8002-DF80C18327AD}" destId="{839131AD-43E8-43CA-9FFF-CCBEE41C364B}" srcOrd="0" destOrd="0" presId="urn:microsoft.com/office/officeart/2005/8/layout/list1"/>
    <dgm:cxn modelId="{F2B618EC-C2CE-4F84-8C7B-3426C8ABFCE3}" srcId="{39C5D273-E120-4E22-9F56-E55E80E46713}" destId="{660742A3-5EEA-4D58-800E-19B0B4DECE4A}" srcOrd="3" destOrd="0" parTransId="{7AA0C06B-E767-43D9-80C7-004D870EF55F}" sibTransId="{BA042289-ED05-4A44-9DDB-FCEFFD44D69F}"/>
    <dgm:cxn modelId="{1B5641F4-FAF6-4E53-B838-8BD733A9BDE8}" type="presOf" srcId="{660742A3-5EEA-4D58-800E-19B0B4DECE4A}" destId="{7F3CCFBC-34A3-44D3-8636-53E3FC93852E}" srcOrd="1" destOrd="0" presId="urn:microsoft.com/office/officeart/2005/8/layout/list1"/>
    <dgm:cxn modelId="{CFF56F6A-033A-4D56-9D4C-8795546F7CFE}" type="presParOf" srcId="{6E26D54C-37A6-4BBD-8432-3B0E0A8EB50C}" destId="{6AA53B89-B683-4814-AD01-09262E31FC80}" srcOrd="0" destOrd="0" presId="urn:microsoft.com/office/officeart/2005/8/layout/list1"/>
    <dgm:cxn modelId="{87AE7257-1AA0-4B0A-A11E-993AEEEF7215}" type="presParOf" srcId="{6AA53B89-B683-4814-AD01-09262E31FC80}" destId="{06AADEC8-6465-4C94-B748-0B1F1EB149B0}" srcOrd="0" destOrd="0" presId="urn:microsoft.com/office/officeart/2005/8/layout/list1"/>
    <dgm:cxn modelId="{C61F0638-C2BC-4FF9-BC3C-A214F3F47AF6}" type="presParOf" srcId="{6AA53B89-B683-4814-AD01-09262E31FC80}" destId="{B5FE7D0F-124A-476E-98D4-FD739E72B9D7}" srcOrd="1" destOrd="0" presId="urn:microsoft.com/office/officeart/2005/8/layout/list1"/>
    <dgm:cxn modelId="{9A1542E1-9AC1-40E1-A125-16A64659F3E8}" type="presParOf" srcId="{6E26D54C-37A6-4BBD-8432-3B0E0A8EB50C}" destId="{27F4FB43-BD47-40A5-A9A9-D0370BAE4A89}" srcOrd="1" destOrd="0" presId="urn:microsoft.com/office/officeart/2005/8/layout/list1"/>
    <dgm:cxn modelId="{8C1C8266-9B6B-45C9-BD3E-BBAF841212A2}" type="presParOf" srcId="{6E26D54C-37A6-4BBD-8432-3B0E0A8EB50C}" destId="{5909798C-5213-4A39-B9E7-D3F678F89C19}" srcOrd="2" destOrd="0" presId="urn:microsoft.com/office/officeart/2005/8/layout/list1"/>
    <dgm:cxn modelId="{8174449A-DBC2-4DF0-9C4E-55B1B5B3CC74}" type="presParOf" srcId="{6E26D54C-37A6-4BBD-8432-3B0E0A8EB50C}" destId="{9A82FE00-D9FA-4168-B88E-0EEA3FA07FF6}" srcOrd="3" destOrd="0" presId="urn:microsoft.com/office/officeart/2005/8/layout/list1"/>
    <dgm:cxn modelId="{F0893F49-3BD4-484A-98DC-550BF77D6DD3}" type="presParOf" srcId="{6E26D54C-37A6-4BBD-8432-3B0E0A8EB50C}" destId="{385B19C1-3B24-4C5B-BCA3-2A678638BF5E}" srcOrd="4" destOrd="0" presId="urn:microsoft.com/office/officeart/2005/8/layout/list1"/>
    <dgm:cxn modelId="{DE2898C2-E964-4FD0-8F40-14A6EF0A6D34}" type="presParOf" srcId="{385B19C1-3B24-4C5B-BCA3-2A678638BF5E}" destId="{839131AD-43E8-43CA-9FFF-CCBEE41C364B}" srcOrd="0" destOrd="0" presId="urn:microsoft.com/office/officeart/2005/8/layout/list1"/>
    <dgm:cxn modelId="{3152290B-6910-4966-8878-0482C449F0B6}" type="presParOf" srcId="{385B19C1-3B24-4C5B-BCA3-2A678638BF5E}" destId="{F6DFDE66-D5F5-4891-B71E-67C9ACF47A66}" srcOrd="1" destOrd="0" presId="urn:microsoft.com/office/officeart/2005/8/layout/list1"/>
    <dgm:cxn modelId="{7FCD8358-0D0A-4D7D-B8EE-216A0419B060}" type="presParOf" srcId="{6E26D54C-37A6-4BBD-8432-3B0E0A8EB50C}" destId="{D28CF1FF-9FBF-49F6-910E-2777D4E882F6}" srcOrd="5" destOrd="0" presId="urn:microsoft.com/office/officeart/2005/8/layout/list1"/>
    <dgm:cxn modelId="{1EBDF450-460B-4CDA-A556-12EC6D2D35AD}" type="presParOf" srcId="{6E26D54C-37A6-4BBD-8432-3B0E0A8EB50C}" destId="{C70327C1-E8BC-4B00-9FA9-72346D0D7C85}" srcOrd="6" destOrd="0" presId="urn:microsoft.com/office/officeart/2005/8/layout/list1"/>
    <dgm:cxn modelId="{80E4E84E-3970-4D29-B179-1381F8F29670}" type="presParOf" srcId="{6E26D54C-37A6-4BBD-8432-3B0E0A8EB50C}" destId="{9AA53490-60C7-43C2-A2D2-E2213ED97696}" srcOrd="7" destOrd="0" presId="urn:microsoft.com/office/officeart/2005/8/layout/list1"/>
    <dgm:cxn modelId="{E42657E8-8C85-427C-8D53-9BC01841D9B5}" type="presParOf" srcId="{6E26D54C-37A6-4BBD-8432-3B0E0A8EB50C}" destId="{05468FF0-53B1-457D-8112-232E2B861F2F}" srcOrd="8" destOrd="0" presId="urn:microsoft.com/office/officeart/2005/8/layout/list1"/>
    <dgm:cxn modelId="{9B76E7B0-5874-4202-953E-450E9B2D8732}" type="presParOf" srcId="{05468FF0-53B1-457D-8112-232E2B861F2F}" destId="{CBEB4CD1-F907-4539-A7AD-532B5E9F61A0}" srcOrd="0" destOrd="0" presId="urn:microsoft.com/office/officeart/2005/8/layout/list1"/>
    <dgm:cxn modelId="{C066C7FA-2281-4FCE-AAA1-86494F9F1FBB}" type="presParOf" srcId="{05468FF0-53B1-457D-8112-232E2B861F2F}" destId="{D5DEFE28-B0AD-4454-82DF-B2D21F6C40EF}" srcOrd="1" destOrd="0" presId="urn:microsoft.com/office/officeart/2005/8/layout/list1"/>
    <dgm:cxn modelId="{8795B9E1-4636-4679-ACB2-FB746F312308}" type="presParOf" srcId="{6E26D54C-37A6-4BBD-8432-3B0E0A8EB50C}" destId="{62764611-D7BE-4B7A-B85B-3F122F560539}" srcOrd="9" destOrd="0" presId="urn:microsoft.com/office/officeart/2005/8/layout/list1"/>
    <dgm:cxn modelId="{D37E977C-6368-49AA-BEA0-7F388BF6BF12}" type="presParOf" srcId="{6E26D54C-37A6-4BBD-8432-3B0E0A8EB50C}" destId="{923C54E3-7BB0-436D-B063-9D5A47BE2B47}" srcOrd="10" destOrd="0" presId="urn:microsoft.com/office/officeart/2005/8/layout/list1"/>
    <dgm:cxn modelId="{96B1015C-5119-413D-A3FF-B110336AB86D}" type="presParOf" srcId="{6E26D54C-37A6-4BBD-8432-3B0E0A8EB50C}" destId="{E300420E-89E3-4CE3-9A3E-861CC2496310}" srcOrd="11" destOrd="0" presId="urn:microsoft.com/office/officeart/2005/8/layout/list1"/>
    <dgm:cxn modelId="{2EF73B03-A5D1-466A-8AAD-CB3DA49C7CB3}" type="presParOf" srcId="{6E26D54C-37A6-4BBD-8432-3B0E0A8EB50C}" destId="{A4EA3840-9309-4E70-9CEF-16F8A49A364E}" srcOrd="12" destOrd="0" presId="urn:microsoft.com/office/officeart/2005/8/layout/list1"/>
    <dgm:cxn modelId="{E260E44B-E1B5-4FEA-B847-2C31ADFBCDFB}" type="presParOf" srcId="{A4EA3840-9309-4E70-9CEF-16F8A49A364E}" destId="{3DAFD24E-9650-490E-9221-593BDBA1CCD6}" srcOrd="0" destOrd="0" presId="urn:microsoft.com/office/officeart/2005/8/layout/list1"/>
    <dgm:cxn modelId="{EA37066D-7ABC-4FDD-ADCA-7DBFC4BC0222}" type="presParOf" srcId="{A4EA3840-9309-4E70-9CEF-16F8A49A364E}" destId="{7F3CCFBC-34A3-44D3-8636-53E3FC93852E}" srcOrd="1" destOrd="0" presId="urn:microsoft.com/office/officeart/2005/8/layout/list1"/>
    <dgm:cxn modelId="{B8B28367-7CDC-40AE-A02A-011CD4FD4D52}" type="presParOf" srcId="{6E26D54C-37A6-4BBD-8432-3B0E0A8EB50C}" destId="{F6783E1A-E42B-45E4-ADF2-848A82BE04E3}" srcOrd="13" destOrd="0" presId="urn:microsoft.com/office/officeart/2005/8/layout/list1"/>
    <dgm:cxn modelId="{69577CCD-78D4-4460-8B63-72FCCB1245B6}" type="presParOf" srcId="{6E26D54C-37A6-4BBD-8432-3B0E0A8EB50C}" destId="{D0E0EB18-7A3B-44A1-AE1A-870FCEBD7754}" srcOrd="14" destOrd="0" presId="urn:microsoft.com/office/officeart/2005/8/layout/list1"/>
    <dgm:cxn modelId="{9703E547-047C-43EE-8AA9-4FA6DC8784E4}" type="presParOf" srcId="{6E26D54C-37A6-4BBD-8432-3B0E0A8EB50C}" destId="{F65D2242-6854-46AC-AC74-AF39AF8139D7}" srcOrd="15" destOrd="0" presId="urn:microsoft.com/office/officeart/2005/8/layout/list1"/>
    <dgm:cxn modelId="{6E4CA21C-14AC-4028-B694-3E44986CF51D}" type="presParOf" srcId="{6E26D54C-37A6-4BBD-8432-3B0E0A8EB50C}" destId="{531AF9C9-9DAD-4220-AC0E-17DA41D08F82}" srcOrd="16" destOrd="0" presId="urn:microsoft.com/office/officeart/2005/8/layout/list1"/>
    <dgm:cxn modelId="{91D9E4ED-4832-4DD1-A0F7-A93535D9D9D5}" type="presParOf" srcId="{531AF9C9-9DAD-4220-AC0E-17DA41D08F82}" destId="{788E5696-CC79-4E72-8567-7282AFD1F4BB}" srcOrd="0" destOrd="0" presId="urn:microsoft.com/office/officeart/2005/8/layout/list1"/>
    <dgm:cxn modelId="{7E16FAEB-D0A5-4CFB-A264-32D21C3305D9}" type="presParOf" srcId="{531AF9C9-9DAD-4220-AC0E-17DA41D08F82}" destId="{498F240C-03D5-468D-8D13-1F4ACE814121}" srcOrd="1" destOrd="0" presId="urn:microsoft.com/office/officeart/2005/8/layout/list1"/>
    <dgm:cxn modelId="{31634374-DCE8-42DB-8041-E804A3384819}" type="presParOf" srcId="{6E26D54C-37A6-4BBD-8432-3B0E0A8EB50C}" destId="{B20D9778-7A96-485C-985D-7CBBF4369924}" srcOrd="17" destOrd="0" presId="urn:microsoft.com/office/officeart/2005/8/layout/list1"/>
    <dgm:cxn modelId="{5439D2BB-3C8D-4946-A3C2-1C88D775584C}" type="presParOf" srcId="{6E26D54C-37A6-4BBD-8432-3B0E0A8EB50C}" destId="{80484B9F-60E8-4E1F-AE3C-E113A4325730}" srcOrd="18" destOrd="0" presId="urn:microsoft.com/office/officeart/2005/8/layout/list1"/>
    <dgm:cxn modelId="{75CF998C-E4A5-47D7-912A-613D224FE971}" type="presParOf" srcId="{6E26D54C-37A6-4BBD-8432-3B0E0A8EB50C}" destId="{7636D320-3FBF-462A-8D23-B82D1C8C60D9}" srcOrd="19" destOrd="0" presId="urn:microsoft.com/office/officeart/2005/8/layout/list1"/>
    <dgm:cxn modelId="{4A8E6525-B212-4292-A6DF-A4588D48F7A6}" type="presParOf" srcId="{6E26D54C-37A6-4BBD-8432-3B0E0A8EB50C}" destId="{1DFEB817-748F-444E-9C8E-DE1E9279E31E}" srcOrd="20" destOrd="0" presId="urn:microsoft.com/office/officeart/2005/8/layout/list1"/>
    <dgm:cxn modelId="{8FB29AB2-7E00-45F5-9B02-4C2F7A7B51E0}" type="presParOf" srcId="{1DFEB817-748F-444E-9C8E-DE1E9279E31E}" destId="{8B7B3CC3-E03F-4F1B-94FE-DB190E308F66}" srcOrd="0" destOrd="0" presId="urn:microsoft.com/office/officeart/2005/8/layout/list1"/>
    <dgm:cxn modelId="{34E0F4E6-00F6-44DE-BBA7-E217FBE67076}" type="presParOf" srcId="{1DFEB817-748F-444E-9C8E-DE1E9279E31E}" destId="{F0A9FF8D-A054-4D7E-8C80-E315385FCE61}" srcOrd="1" destOrd="0" presId="urn:microsoft.com/office/officeart/2005/8/layout/list1"/>
    <dgm:cxn modelId="{114CE378-1548-4BE3-B534-F3DE897FC83A}" type="presParOf" srcId="{6E26D54C-37A6-4BBD-8432-3B0E0A8EB50C}" destId="{4636671F-F36D-4651-A90E-9805007D9E3B}" srcOrd="21" destOrd="0" presId="urn:microsoft.com/office/officeart/2005/8/layout/list1"/>
    <dgm:cxn modelId="{2ECB0733-9707-4FF9-8447-76F1DFC4ED9C}" type="presParOf" srcId="{6E26D54C-37A6-4BBD-8432-3B0E0A8EB50C}" destId="{1A258B97-FB0D-486A-8FC5-DA2233E158F0}" srcOrd="22" destOrd="0" presId="urn:microsoft.com/office/officeart/2005/8/layout/list1"/>
    <dgm:cxn modelId="{8962CA1C-0AEE-4C37-8EC2-B4FCAD6C429A}" type="presParOf" srcId="{6E26D54C-37A6-4BBD-8432-3B0E0A8EB50C}" destId="{8A76508A-82E0-428A-B9C5-88E3136AEB06}" srcOrd="23" destOrd="0" presId="urn:microsoft.com/office/officeart/2005/8/layout/list1"/>
    <dgm:cxn modelId="{5B39D73D-CB5A-49B2-A546-70CF6D84EC29}" type="presParOf" srcId="{6E26D54C-37A6-4BBD-8432-3B0E0A8EB50C}" destId="{204C7C4D-98A4-4BEA-8082-123CE07620D6}" srcOrd="24" destOrd="0" presId="urn:microsoft.com/office/officeart/2005/8/layout/list1"/>
    <dgm:cxn modelId="{79205069-AEC2-4AA5-A07A-C28FA8D2EBD7}" type="presParOf" srcId="{204C7C4D-98A4-4BEA-8082-123CE07620D6}" destId="{CBC114FF-DA9B-403D-B427-6C19DCDCCD92}" srcOrd="0" destOrd="0" presId="urn:microsoft.com/office/officeart/2005/8/layout/list1"/>
    <dgm:cxn modelId="{4BCEAA7F-6C00-4FEE-92FB-6B3431069150}" type="presParOf" srcId="{204C7C4D-98A4-4BEA-8082-123CE07620D6}" destId="{1B53B9A2-7AEF-44E7-879E-5F8F839614B4}" srcOrd="1" destOrd="0" presId="urn:microsoft.com/office/officeart/2005/8/layout/list1"/>
    <dgm:cxn modelId="{7D0BE461-7F77-4957-83BE-69F96B130CE7}" type="presParOf" srcId="{6E26D54C-37A6-4BBD-8432-3B0E0A8EB50C}" destId="{FAA75F71-B987-4817-852E-6C4AB21829DC}" srcOrd="25" destOrd="0" presId="urn:microsoft.com/office/officeart/2005/8/layout/list1"/>
    <dgm:cxn modelId="{254155E5-F672-43E7-95BC-3FC22E1B76C3}" type="presParOf" srcId="{6E26D54C-37A6-4BBD-8432-3B0E0A8EB50C}" destId="{CF333F0D-DD86-47A2-83E9-B8FBC85D028B}" srcOrd="26"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909798C-5213-4A39-B9E7-D3F678F89C19}">
      <dsp:nvSpPr>
        <dsp:cNvPr id="0" name=""/>
        <dsp:cNvSpPr/>
      </dsp:nvSpPr>
      <dsp:spPr>
        <a:xfrm>
          <a:off x="0" y="355958"/>
          <a:ext cx="6844684" cy="428400"/>
        </a:xfrm>
        <a:prstGeom prst="rect">
          <a:avLst/>
        </a:prstGeom>
        <a:solidFill>
          <a:schemeClr val="lt1">
            <a:alpha val="90000"/>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5FE7D0F-124A-476E-98D4-FD739E72B9D7}">
      <dsp:nvSpPr>
        <dsp:cNvPr id="0" name=""/>
        <dsp:cNvSpPr/>
      </dsp:nvSpPr>
      <dsp:spPr>
        <a:xfrm>
          <a:off x="342234" y="105038"/>
          <a:ext cx="4791278" cy="501840"/>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1099" tIns="0" rIns="181099" bIns="0" numCol="1" spcCol="1270" anchor="ctr" anchorCtr="0">
          <a:noAutofit/>
        </a:bodyPr>
        <a:lstStyle/>
        <a:p>
          <a:pPr marL="0" lvl="0" indent="0" algn="l" defTabSz="755650">
            <a:lnSpc>
              <a:spcPct val="90000"/>
            </a:lnSpc>
            <a:spcBef>
              <a:spcPct val="0"/>
            </a:spcBef>
            <a:spcAft>
              <a:spcPct val="35000"/>
            </a:spcAft>
            <a:buClrTx/>
            <a:buSzTx/>
            <a:buFont typeface="Arial" panose="020B0604020202020204" pitchFamily="34" charset="0"/>
            <a:buNone/>
          </a:pPr>
          <a:r>
            <a:rPr lang="en-US" sz="1700" kern="1200" dirty="0">
              <a:solidFill>
                <a:schemeClr val="bg1"/>
              </a:solidFill>
              <a:latin typeface="Gill Sans MT" panose="020B0502020104020203" pitchFamily="34" charset="0"/>
            </a:rPr>
            <a:t>Executive Summary</a:t>
          </a:r>
          <a:endParaRPr lang="en-IN" sz="1700" kern="1200" dirty="0"/>
        </a:p>
      </dsp:txBody>
      <dsp:txXfrm>
        <a:off x="366732" y="129536"/>
        <a:ext cx="4742282" cy="452844"/>
      </dsp:txXfrm>
    </dsp:sp>
    <dsp:sp modelId="{C70327C1-E8BC-4B00-9FA9-72346D0D7C85}">
      <dsp:nvSpPr>
        <dsp:cNvPr id="0" name=""/>
        <dsp:cNvSpPr/>
      </dsp:nvSpPr>
      <dsp:spPr>
        <a:xfrm>
          <a:off x="0" y="1127078"/>
          <a:ext cx="6844684" cy="428400"/>
        </a:xfrm>
        <a:prstGeom prst="rect">
          <a:avLst/>
        </a:prstGeom>
        <a:solidFill>
          <a:schemeClr val="lt1">
            <a:alpha val="90000"/>
            <a:hueOff val="0"/>
            <a:satOff val="0"/>
            <a:lumOff val="0"/>
            <a:alphaOff val="0"/>
          </a:schemeClr>
        </a:solidFill>
        <a:ln w="12700" cap="flat" cmpd="sng" algn="ctr">
          <a:solidFill>
            <a:schemeClr val="accent5">
              <a:hueOff val="-1126424"/>
              <a:satOff val="-2903"/>
              <a:lumOff val="-1961"/>
              <a:alphaOff val="0"/>
            </a:schemeClr>
          </a:solidFill>
          <a:prstDash val="solid"/>
          <a:miter lim="800000"/>
        </a:ln>
        <a:effectLst/>
      </dsp:spPr>
      <dsp:style>
        <a:lnRef idx="2">
          <a:scrgbClr r="0" g="0" b="0"/>
        </a:lnRef>
        <a:fillRef idx="1">
          <a:scrgbClr r="0" g="0" b="0"/>
        </a:fillRef>
        <a:effectRef idx="0">
          <a:scrgbClr r="0" g="0" b="0"/>
        </a:effectRef>
        <a:fontRef idx="minor"/>
      </dsp:style>
    </dsp:sp>
    <dsp:sp modelId="{F6DFDE66-D5F5-4891-B71E-67C9ACF47A66}">
      <dsp:nvSpPr>
        <dsp:cNvPr id="0" name=""/>
        <dsp:cNvSpPr/>
      </dsp:nvSpPr>
      <dsp:spPr>
        <a:xfrm>
          <a:off x="342234" y="876158"/>
          <a:ext cx="4791278" cy="501840"/>
        </a:xfrm>
        <a:prstGeom prst="roundRect">
          <a:avLst/>
        </a:prstGeom>
        <a:solidFill>
          <a:schemeClr val="accent5">
            <a:hueOff val="-1126424"/>
            <a:satOff val="-2903"/>
            <a:lumOff val="-196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1099" tIns="0" rIns="181099" bIns="0" numCol="1" spcCol="1270" anchor="ctr" anchorCtr="0">
          <a:noAutofit/>
        </a:bodyPr>
        <a:lstStyle/>
        <a:p>
          <a:pPr marL="0" lvl="0" indent="0" algn="l" defTabSz="755650">
            <a:lnSpc>
              <a:spcPct val="90000"/>
            </a:lnSpc>
            <a:spcBef>
              <a:spcPct val="0"/>
            </a:spcBef>
            <a:spcAft>
              <a:spcPct val="35000"/>
            </a:spcAft>
            <a:buNone/>
          </a:pPr>
          <a:r>
            <a:rPr lang="en-IN" sz="1700" kern="1200" dirty="0">
              <a:latin typeface="Gill Sans MT" panose="020B0502020104020203" pitchFamily="34" charset="0"/>
            </a:rPr>
            <a:t>Abstract &amp; Problems</a:t>
          </a:r>
        </a:p>
      </dsp:txBody>
      <dsp:txXfrm>
        <a:off x="366732" y="900656"/>
        <a:ext cx="4742282" cy="452844"/>
      </dsp:txXfrm>
    </dsp:sp>
    <dsp:sp modelId="{923C54E3-7BB0-436D-B063-9D5A47BE2B47}">
      <dsp:nvSpPr>
        <dsp:cNvPr id="0" name=""/>
        <dsp:cNvSpPr/>
      </dsp:nvSpPr>
      <dsp:spPr>
        <a:xfrm>
          <a:off x="0" y="1898198"/>
          <a:ext cx="6844684" cy="428400"/>
        </a:xfrm>
        <a:prstGeom prst="rect">
          <a:avLst/>
        </a:prstGeom>
        <a:solidFill>
          <a:schemeClr val="lt1">
            <a:alpha val="90000"/>
            <a:hueOff val="0"/>
            <a:satOff val="0"/>
            <a:lumOff val="0"/>
            <a:alphaOff val="0"/>
          </a:schemeClr>
        </a:solidFill>
        <a:ln w="12700" cap="flat" cmpd="sng" algn="ctr">
          <a:solidFill>
            <a:schemeClr val="accent5">
              <a:hueOff val="-2252848"/>
              <a:satOff val="-5806"/>
              <a:lumOff val="-3922"/>
              <a:alphaOff val="0"/>
            </a:schemeClr>
          </a:solidFill>
          <a:prstDash val="solid"/>
          <a:miter lim="800000"/>
        </a:ln>
        <a:effectLst/>
      </dsp:spPr>
      <dsp:style>
        <a:lnRef idx="2">
          <a:scrgbClr r="0" g="0" b="0"/>
        </a:lnRef>
        <a:fillRef idx="1">
          <a:scrgbClr r="0" g="0" b="0"/>
        </a:fillRef>
        <a:effectRef idx="0">
          <a:scrgbClr r="0" g="0" b="0"/>
        </a:effectRef>
        <a:fontRef idx="minor"/>
      </dsp:style>
    </dsp:sp>
    <dsp:sp modelId="{D5DEFE28-B0AD-4454-82DF-B2D21F6C40EF}">
      <dsp:nvSpPr>
        <dsp:cNvPr id="0" name=""/>
        <dsp:cNvSpPr/>
      </dsp:nvSpPr>
      <dsp:spPr>
        <a:xfrm>
          <a:off x="342234" y="1647278"/>
          <a:ext cx="4791278" cy="501840"/>
        </a:xfrm>
        <a:prstGeom prst="roundRect">
          <a:avLst/>
        </a:prstGeom>
        <a:solidFill>
          <a:schemeClr val="accent5">
            <a:hueOff val="-2252848"/>
            <a:satOff val="-5806"/>
            <a:lumOff val="-392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1099" tIns="0" rIns="181099" bIns="0" numCol="1" spcCol="1270" anchor="ctr" anchorCtr="0">
          <a:noAutofit/>
        </a:bodyPr>
        <a:lstStyle/>
        <a:p>
          <a:pPr marL="0" lvl="0" indent="0" algn="l" defTabSz="755650">
            <a:lnSpc>
              <a:spcPct val="90000"/>
            </a:lnSpc>
            <a:spcBef>
              <a:spcPct val="0"/>
            </a:spcBef>
            <a:spcAft>
              <a:spcPct val="35000"/>
            </a:spcAft>
            <a:buClrTx/>
            <a:buSzTx/>
            <a:buFont typeface="Arial" panose="020B0604020202020204" pitchFamily="34" charset="0"/>
            <a:buNone/>
          </a:pPr>
          <a:r>
            <a:rPr lang="en-IN" sz="1700" kern="1200" dirty="0"/>
            <a:t>Business Objectives</a:t>
          </a:r>
        </a:p>
      </dsp:txBody>
      <dsp:txXfrm>
        <a:off x="366732" y="1671776"/>
        <a:ext cx="4742282" cy="452844"/>
      </dsp:txXfrm>
    </dsp:sp>
    <dsp:sp modelId="{D0E0EB18-7A3B-44A1-AE1A-870FCEBD7754}">
      <dsp:nvSpPr>
        <dsp:cNvPr id="0" name=""/>
        <dsp:cNvSpPr/>
      </dsp:nvSpPr>
      <dsp:spPr>
        <a:xfrm>
          <a:off x="0" y="2669318"/>
          <a:ext cx="6844684" cy="428400"/>
        </a:xfrm>
        <a:prstGeom prst="rect">
          <a:avLst/>
        </a:prstGeom>
        <a:solidFill>
          <a:schemeClr val="lt1">
            <a:alpha val="90000"/>
            <a:hueOff val="0"/>
            <a:satOff val="0"/>
            <a:lumOff val="0"/>
            <a:alphaOff val="0"/>
          </a:schemeClr>
        </a:solidFill>
        <a:ln w="12700" cap="flat" cmpd="sng" algn="ctr">
          <a:solidFill>
            <a:schemeClr val="accent5">
              <a:hueOff val="-3379271"/>
              <a:satOff val="-8710"/>
              <a:lumOff val="-5883"/>
              <a:alphaOff val="0"/>
            </a:schemeClr>
          </a:solidFill>
          <a:prstDash val="solid"/>
          <a:miter lim="800000"/>
        </a:ln>
        <a:effectLst/>
      </dsp:spPr>
      <dsp:style>
        <a:lnRef idx="2">
          <a:scrgbClr r="0" g="0" b="0"/>
        </a:lnRef>
        <a:fillRef idx="1">
          <a:scrgbClr r="0" g="0" b="0"/>
        </a:fillRef>
        <a:effectRef idx="0">
          <a:scrgbClr r="0" g="0" b="0"/>
        </a:effectRef>
        <a:fontRef idx="minor"/>
      </dsp:style>
    </dsp:sp>
    <dsp:sp modelId="{7F3CCFBC-34A3-44D3-8636-53E3FC93852E}">
      <dsp:nvSpPr>
        <dsp:cNvPr id="0" name=""/>
        <dsp:cNvSpPr/>
      </dsp:nvSpPr>
      <dsp:spPr>
        <a:xfrm>
          <a:off x="342234" y="2418398"/>
          <a:ext cx="4791278" cy="501840"/>
        </a:xfrm>
        <a:prstGeom prst="roundRect">
          <a:avLst/>
        </a:prstGeom>
        <a:solidFill>
          <a:schemeClr val="accent5">
            <a:hueOff val="-3379271"/>
            <a:satOff val="-8710"/>
            <a:lumOff val="-588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1099" tIns="0" rIns="181099" bIns="0" numCol="1" spcCol="1270" anchor="ctr" anchorCtr="0">
          <a:noAutofit/>
        </a:bodyPr>
        <a:lstStyle/>
        <a:p>
          <a:pPr marL="0" lvl="0" indent="0" algn="l" defTabSz="755650">
            <a:lnSpc>
              <a:spcPct val="90000"/>
            </a:lnSpc>
            <a:spcBef>
              <a:spcPct val="0"/>
            </a:spcBef>
            <a:spcAft>
              <a:spcPct val="35000"/>
            </a:spcAft>
            <a:buClrTx/>
            <a:buSzTx/>
            <a:buFont typeface="Arial" panose="020B0604020202020204" pitchFamily="34" charset="0"/>
            <a:buNone/>
          </a:pPr>
          <a:r>
            <a:rPr kumimoji="0" lang="en-US" sz="1700" b="0" i="0" u="none" strike="noStrike" kern="1200" cap="none" spc="0" normalizeH="0" baseline="0" noProof="0" dirty="0">
              <a:ln>
                <a:noFill/>
              </a:ln>
              <a:solidFill>
                <a:schemeClr val="bg1"/>
              </a:solidFill>
              <a:effectLst/>
              <a:uLnTx/>
              <a:uFillTx/>
              <a:latin typeface="Gill Sans MT" panose="020B0502020104020203" pitchFamily="34" charset="0"/>
            </a:rPr>
            <a:t>Data Source</a:t>
          </a:r>
          <a:endParaRPr lang="en-IN" sz="1700" kern="1200" dirty="0"/>
        </a:p>
      </dsp:txBody>
      <dsp:txXfrm>
        <a:off x="366732" y="2442896"/>
        <a:ext cx="4742282" cy="452844"/>
      </dsp:txXfrm>
    </dsp:sp>
    <dsp:sp modelId="{80484B9F-60E8-4E1F-AE3C-E113A4325730}">
      <dsp:nvSpPr>
        <dsp:cNvPr id="0" name=""/>
        <dsp:cNvSpPr/>
      </dsp:nvSpPr>
      <dsp:spPr>
        <a:xfrm>
          <a:off x="0" y="3440438"/>
          <a:ext cx="6844684" cy="428400"/>
        </a:xfrm>
        <a:prstGeom prst="rect">
          <a:avLst/>
        </a:prstGeom>
        <a:solidFill>
          <a:schemeClr val="lt1">
            <a:alpha val="90000"/>
            <a:hueOff val="0"/>
            <a:satOff val="0"/>
            <a:lumOff val="0"/>
            <a:alphaOff val="0"/>
          </a:schemeClr>
        </a:solidFill>
        <a:ln w="12700" cap="flat" cmpd="sng" algn="ctr">
          <a:solidFill>
            <a:schemeClr val="accent5">
              <a:hueOff val="-4505695"/>
              <a:satOff val="-11613"/>
              <a:lumOff val="-7843"/>
              <a:alphaOff val="0"/>
            </a:schemeClr>
          </a:solidFill>
          <a:prstDash val="solid"/>
          <a:miter lim="800000"/>
        </a:ln>
        <a:effectLst/>
      </dsp:spPr>
      <dsp:style>
        <a:lnRef idx="2">
          <a:scrgbClr r="0" g="0" b="0"/>
        </a:lnRef>
        <a:fillRef idx="1">
          <a:scrgbClr r="0" g="0" b="0"/>
        </a:fillRef>
        <a:effectRef idx="0">
          <a:scrgbClr r="0" g="0" b="0"/>
        </a:effectRef>
        <a:fontRef idx="minor"/>
      </dsp:style>
    </dsp:sp>
    <dsp:sp modelId="{498F240C-03D5-468D-8D13-1F4ACE814121}">
      <dsp:nvSpPr>
        <dsp:cNvPr id="0" name=""/>
        <dsp:cNvSpPr/>
      </dsp:nvSpPr>
      <dsp:spPr>
        <a:xfrm>
          <a:off x="342234" y="3189518"/>
          <a:ext cx="4791278" cy="501840"/>
        </a:xfrm>
        <a:prstGeom prst="roundRect">
          <a:avLst/>
        </a:prstGeom>
        <a:solidFill>
          <a:schemeClr val="accent5">
            <a:hueOff val="-4505695"/>
            <a:satOff val="-11613"/>
            <a:lumOff val="-784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1099" tIns="0" rIns="181099" bIns="0" numCol="1" spcCol="1270" anchor="ctr" anchorCtr="0">
          <a:noAutofit/>
        </a:bodyPr>
        <a:lstStyle/>
        <a:p>
          <a:pPr marL="0" lvl="0" indent="0" algn="l" defTabSz="755650">
            <a:lnSpc>
              <a:spcPct val="90000"/>
            </a:lnSpc>
            <a:spcBef>
              <a:spcPct val="0"/>
            </a:spcBef>
            <a:spcAft>
              <a:spcPct val="35000"/>
            </a:spcAft>
            <a:buNone/>
          </a:pPr>
          <a:r>
            <a:rPr lang="en-IN" sz="1700" kern="1200" dirty="0"/>
            <a:t>Methodology</a:t>
          </a:r>
        </a:p>
      </dsp:txBody>
      <dsp:txXfrm>
        <a:off x="366732" y="3214016"/>
        <a:ext cx="4742282" cy="452844"/>
      </dsp:txXfrm>
    </dsp:sp>
    <dsp:sp modelId="{1A258B97-FB0D-486A-8FC5-DA2233E158F0}">
      <dsp:nvSpPr>
        <dsp:cNvPr id="0" name=""/>
        <dsp:cNvSpPr/>
      </dsp:nvSpPr>
      <dsp:spPr>
        <a:xfrm>
          <a:off x="0" y="4211558"/>
          <a:ext cx="6844684" cy="428400"/>
        </a:xfrm>
        <a:prstGeom prst="rect">
          <a:avLst/>
        </a:prstGeom>
        <a:solidFill>
          <a:schemeClr val="lt1">
            <a:alpha val="90000"/>
            <a:hueOff val="0"/>
            <a:satOff val="0"/>
            <a:lumOff val="0"/>
            <a:alphaOff val="0"/>
          </a:schemeClr>
        </a:solidFill>
        <a:ln w="12700" cap="flat" cmpd="sng" algn="ctr">
          <a:solidFill>
            <a:schemeClr val="accent5">
              <a:hueOff val="-5632119"/>
              <a:satOff val="-14516"/>
              <a:lumOff val="-9804"/>
              <a:alphaOff val="0"/>
            </a:schemeClr>
          </a:solidFill>
          <a:prstDash val="solid"/>
          <a:miter lim="800000"/>
        </a:ln>
        <a:effectLst/>
      </dsp:spPr>
      <dsp:style>
        <a:lnRef idx="2">
          <a:scrgbClr r="0" g="0" b="0"/>
        </a:lnRef>
        <a:fillRef idx="1">
          <a:scrgbClr r="0" g="0" b="0"/>
        </a:fillRef>
        <a:effectRef idx="0">
          <a:scrgbClr r="0" g="0" b="0"/>
        </a:effectRef>
        <a:fontRef idx="minor"/>
      </dsp:style>
    </dsp:sp>
    <dsp:sp modelId="{F0A9FF8D-A054-4D7E-8C80-E315385FCE61}">
      <dsp:nvSpPr>
        <dsp:cNvPr id="0" name=""/>
        <dsp:cNvSpPr/>
      </dsp:nvSpPr>
      <dsp:spPr>
        <a:xfrm>
          <a:off x="342234" y="3960638"/>
          <a:ext cx="4791278" cy="501840"/>
        </a:xfrm>
        <a:prstGeom prst="roundRect">
          <a:avLst/>
        </a:prstGeom>
        <a:solidFill>
          <a:schemeClr val="accent5">
            <a:hueOff val="-5632119"/>
            <a:satOff val="-14516"/>
            <a:lumOff val="-980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1099" tIns="0" rIns="181099" bIns="0" numCol="1" spcCol="1270" anchor="ctr" anchorCtr="0">
          <a:noAutofit/>
        </a:bodyPr>
        <a:lstStyle/>
        <a:p>
          <a:pPr marL="0" lvl="0" indent="0" algn="l" defTabSz="755650">
            <a:lnSpc>
              <a:spcPct val="90000"/>
            </a:lnSpc>
            <a:spcBef>
              <a:spcPct val="0"/>
            </a:spcBef>
            <a:spcAft>
              <a:spcPct val="35000"/>
            </a:spcAft>
            <a:buClrTx/>
            <a:buSzTx/>
            <a:buFont typeface="Arial" panose="020B0604020202020204" pitchFamily="34" charset="0"/>
            <a:buNone/>
          </a:pPr>
          <a:r>
            <a:rPr lang="en-US" sz="1700" kern="1200" dirty="0">
              <a:solidFill>
                <a:schemeClr val="bg1"/>
              </a:solidFill>
              <a:latin typeface="Gill Sans MT" panose="020B0502020104020203" pitchFamily="34" charset="0"/>
            </a:rPr>
            <a:t>Exploratory Data Analysis</a:t>
          </a:r>
          <a:endParaRPr lang="en-IN" sz="1700" kern="1200" dirty="0"/>
        </a:p>
      </dsp:txBody>
      <dsp:txXfrm>
        <a:off x="366732" y="3985136"/>
        <a:ext cx="4742282" cy="452844"/>
      </dsp:txXfrm>
    </dsp:sp>
    <dsp:sp modelId="{CF333F0D-DD86-47A2-83E9-B8FBC85D028B}">
      <dsp:nvSpPr>
        <dsp:cNvPr id="0" name=""/>
        <dsp:cNvSpPr/>
      </dsp:nvSpPr>
      <dsp:spPr>
        <a:xfrm>
          <a:off x="0" y="4982678"/>
          <a:ext cx="6844684" cy="428400"/>
        </a:xfrm>
        <a:prstGeom prst="rect">
          <a:avLst/>
        </a:prstGeom>
        <a:solidFill>
          <a:schemeClr val="lt1">
            <a:alpha val="90000"/>
            <a:hueOff val="0"/>
            <a:satOff val="0"/>
            <a:lumOff val="0"/>
            <a:alphaOff val="0"/>
          </a:schemeClr>
        </a:solidFill>
        <a:ln w="12700" cap="flat" cmpd="sng" algn="ctr">
          <a:solidFill>
            <a:schemeClr val="accent5">
              <a:hueOff val="-6758543"/>
              <a:satOff val="-17419"/>
              <a:lumOff val="-11765"/>
              <a:alphaOff val="0"/>
            </a:schemeClr>
          </a:solidFill>
          <a:prstDash val="solid"/>
          <a:miter lim="800000"/>
        </a:ln>
        <a:effectLst/>
      </dsp:spPr>
      <dsp:style>
        <a:lnRef idx="2">
          <a:scrgbClr r="0" g="0" b="0"/>
        </a:lnRef>
        <a:fillRef idx="1">
          <a:scrgbClr r="0" g="0" b="0"/>
        </a:fillRef>
        <a:effectRef idx="0">
          <a:scrgbClr r="0" g="0" b="0"/>
        </a:effectRef>
        <a:fontRef idx="minor"/>
      </dsp:style>
    </dsp:sp>
    <dsp:sp modelId="{1B53B9A2-7AEF-44E7-879E-5F8F839614B4}">
      <dsp:nvSpPr>
        <dsp:cNvPr id="0" name=""/>
        <dsp:cNvSpPr/>
      </dsp:nvSpPr>
      <dsp:spPr>
        <a:xfrm>
          <a:off x="342234" y="4731758"/>
          <a:ext cx="4791278" cy="501840"/>
        </a:xfrm>
        <a:prstGeom prst="roundRect">
          <a:avLst/>
        </a:prstGeom>
        <a:solidFill>
          <a:schemeClr val="accent5">
            <a:hueOff val="-6758543"/>
            <a:satOff val="-17419"/>
            <a:lumOff val="-1176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1099" tIns="0" rIns="181099" bIns="0" numCol="1" spcCol="1270" anchor="ctr" anchorCtr="0">
          <a:noAutofit/>
        </a:bodyPr>
        <a:lstStyle/>
        <a:p>
          <a:pPr marL="0" lvl="0" indent="0" algn="l" defTabSz="755650">
            <a:lnSpc>
              <a:spcPct val="90000"/>
            </a:lnSpc>
            <a:spcBef>
              <a:spcPct val="0"/>
            </a:spcBef>
            <a:spcAft>
              <a:spcPct val="35000"/>
            </a:spcAft>
            <a:buClrTx/>
            <a:buSzTx/>
            <a:buFont typeface="Arial" panose="020B0604020202020204" pitchFamily="34" charset="0"/>
            <a:buNone/>
          </a:pPr>
          <a:r>
            <a:rPr lang="en-US" sz="1700" kern="1200">
              <a:solidFill>
                <a:schemeClr val="bg1"/>
              </a:solidFill>
              <a:latin typeface="Gill Sans MT" panose="020B0502020104020203" pitchFamily="34" charset="0"/>
            </a:rPr>
            <a:t>Evaluation/Results</a:t>
          </a:r>
          <a:endParaRPr lang="en-IN" sz="1700" kern="1200" dirty="0"/>
        </a:p>
      </dsp:txBody>
      <dsp:txXfrm>
        <a:off x="366732" y="4756256"/>
        <a:ext cx="4742282" cy="452844"/>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2D1D90F-1D36-4912-A850-1C76B89E3C37}" type="datetimeFigureOut">
              <a:rPr lang="en-IN" smtClean="0"/>
              <a:t>11-10-2023</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242D9B6-CF64-440F-AE78-377C09D57047}" type="slidenum">
              <a:rPr lang="en-IN" smtClean="0"/>
              <a:t>‹#›</a:t>
            </a:fld>
            <a:endParaRPr lang="en-IN"/>
          </a:p>
        </p:txBody>
      </p:sp>
    </p:spTree>
    <p:extLst>
      <p:ext uri="{BB962C8B-B14F-4D97-AF65-F5344CB8AC3E}">
        <p14:creationId xmlns:p14="http://schemas.microsoft.com/office/powerpoint/2010/main" val="7565272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FD3DAF-277C-4A41-BCE0-1AB57877C51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a:extLst>
              <a:ext uri="{FF2B5EF4-FFF2-40B4-BE49-F238E27FC236}">
                <a16:creationId xmlns:a16="http://schemas.microsoft.com/office/drawing/2014/main" id="{696CF29C-86D1-4E08-9C9A-BACBF701A01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4" name="Date Placeholder 3">
            <a:extLst>
              <a:ext uri="{FF2B5EF4-FFF2-40B4-BE49-F238E27FC236}">
                <a16:creationId xmlns:a16="http://schemas.microsoft.com/office/drawing/2014/main" id="{C219FFB4-5553-4B6A-BA42-7B12AB15B848}"/>
              </a:ext>
            </a:extLst>
          </p:cNvPr>
          <p:cNvSpPr>
            <a:spLocks noGrp="1"/>
          </p:cNvSpPr>
          <p:nvPr>
            <p:ph type="dt" sz="half" idx="10"/>
          </p:nvPr>
        </p:nvSpPr>
        <p:spPr/>
        <p:txBody>
          <a:bodyPr/>
          <a:lstStyle/>
          <a:p>
            <a:fld id="{303D6171-ACA4-4DB1-9BD3-A5169906E256}" type="datetimeFigureOut">
              <a:rPr lang="en-IN" smtClean="0"/>
              <a:t>11-10-2023</a:t>
            </a:fld>
            <a:endParaRPr lang="en-IN"/>
          </a:p>
        </p:txBody>
      </p:sp>
      <p:sp>
        <p:nvSpPr>
          <p:cNvPr id="5" name="Footer Placeholder 4">
            <a:extLst>
              <a:ext uri="{FF2B5EF4-FFF2-40B4-BE49-F238E27FC236}">
                <a16:creationId xmlns:a16="http://schemas.microsoft.com/office/drawing/2014/main" id="{70A694B6-106C-43D8-B1B0-01259F18D6E2}"/>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1787DA5F-5535-4325-AC2C-DFC2DA5CF233}"/>
              </a:ext>
            </a:extLst>
          </p:cNvPr>
          <p:cNvSpPr>
            <a:spLocks noGrp="1"/>
          </p:cNvSpPr>
          <p:nvPr>
            <p:ph type="sldNum" sz="quarter" idx="12"/>
          </p:nvPr>
        </p:nvSpPr>
        <p:spPr/>
        <p:txBody>
          <a:bodyPr/>
          <a:lstStyle/>
          <a:p>
            <a:fld id="{87556ABE-6FCD-4DFC-BD98-7D2F82604A71}" type="slidenum">
              <a:rPr lang="en-IN" smtClean="0"/>
              <a:t>‹#›</a:t>
            </a:fld>
            <a:endParaRPr lang="en-IN"/>
          </a:p>
        </p:txBody>
      </p:sp>
    </p:spTree>
    <p:extLst>
      <p:ext uri="{BB962C8B-B14F-4D97-AF65-F5344CB8AC3E}">
        <p14:creationId xmlns:p14="http://schemas.microsoft.com/office/powerpoint/2010/main" val="101475151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1D711E-E461-40F3-BBF6-99C58BCFC4E9}"/>
              </a:ext>
            </a:extLst>
          </p:cNvPr>
          <p:cNvSpPr>
            <a:spLocks noGrp="1"/>
          </p:cNvSpPr>
          <p:nvPr>
            <p:ph type="title"/>
          </p:nvPr>
        </p:nvSpPr>
        <p:spPr/>
        <p:txBody>
          <a:bodyPr/>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A12C78FB-B602-4FA4-BA4E-30A6CF0D9E74}"/>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D6E5D74C-55B3-41CC-BACD-F46BC6E6DD97}"/>
              </a:ext>
            </a:extLst>
          </p:cNvPr>
          <p:cNvSpPr>
            <a:spLocks noGrp="1"/>
          </p:cNvSpPr>
          <p:nvPr>
            <p:ph type="dt" sz="half" idx="10"/>
          </p:nvPr>
        </p:nvSpPr>
        <p:spPr/>
        <p:txBody>
          <a:bodyPr/>
          <a:lstStyle/>
          <a:p>
            <a:fld id="{303D6171-ACA4-4DB1-9BD3-A5169906E256}" type="datetimeFigureOut">
              <a:rPr lang="en-IN" smtClean="0"/>
              <a:t>11-10-2023</a:t>
            </a:fld>
            <a:endParaRPr lang="en-IN"/>
          </a:p>
        </p:txBody>
      </p:sp>
      <p:sp>
        <p:nvSpPr>
          <p:cNvPr id="5" name="Footer Placeholder 4">
            <a:extLst>
              <a:ext uri="{FF2B5EF4-FFF2-40B4-BE49-F238E27FC236}">
                <a16:creationId xmlns:a16="http://schemas.microsoft.com/office/drawing/2014/main" id="{00D8C6DD-897E-469C-A288-A8883B3380E3}"/>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8784E0F2-E62B-4735-BA5B-40F6796F3DEC}"/>
              </a:ext>
            </a:extLst>
          </p:cNvPr>
          <p:cNvSpPr>
            <a:spLocks noGrp="1"/>
          </p:cNvSpPr>
          <p:nvPr>
            <p:ph type="sldNum" sz="quarter" idx="12"/>
          </p:nvPr>
        </p:nvSpPr>
        <p:spPr/>
        <p:txBody>
          <a:bodyPr/>
          <a:lstStyle/>
          <a:p>
            <a:fld id="{87556ABE-6FCD-4DFC-BD98-7D2F82604A71}" type="slidenum">
              <a:rPr lang="en-IN" smtClean="0"/>
              <a:t>‹#›</a:t>
            </a:fld>
            <a:endParaRPr lang="en-IN"/>
          </a:p>
        </p:txBody>
      </p:sp>
    </p:spTree>
    <p:extLst>
      <p:ext uri="{BB962C8B-B14F-4D97-AF65-F5344CB8AC3E}">
        <p14:creationId xmlns:p14="http://schemas.microsoft.com/office/powerpoint/2010/main" val="4107102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93F4222-8A7F-4AF9-A977-5EB92FB1333F}"/>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805A74C5-E9B4-4E51-B039-D6AF06B2B0EB}"/>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CC4E1ACD-71B9-4699-BF71-C141F0076BEA}"/>
              </a:ext>
            </a:extLst>
          </p:cNvPr>
          <p:cNvSpPr>
            <a:spLocks noGrp="1"/>
          </p:cNvSpPr>
          <p:nvPr>
            <p:ph type="dt" sz="half" idx="10"/>
          </p:nvPr>
        </p:nvSpPr>
        <p:spPr/>
        <p:txBody>
          <a:bodyPr/>
          <a:lstStyle/>
          <a:p>
            <a:fld id="{303D6171-ACA4-4DB1-9BD3-A5169906E256}" type="datetimeFigureOut">
              <a:rPr lang="en-IN" smtClean="0"/>
              <a:t>11-10-2023</a:t>
            </a:fld>
            <a:endParaRPr lang="en-IN"/>
          </a:p>
        </p:txBody>
      </p:sp>
      <p:sp>
        <p:nvSpPr>
          <p:cNvPr id="5" name="Footer Placeholder 4">
            <a:extLst>
              <a:ext uri="{FF2B5EF4-FFF2-40B4-BE49-F238E27FC236}">
                <a16:creationId xmlns:a16="http://schemas.microsoft.com/office/drawing/2014/main" id="{936EBC50-A31A-4B4E-B856-60B763C1DE70}"/>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8897057E-CDCA-47C6-930B-8D76FD8AEB57}"/>
              </a:ext>
            </a:extLst>
          </p:cNvPr>
          <p:cNvSpPr>
            <a:spLocks noGrp="1"/>
          </p:cNvSpPr>
          <p:nvPr>
            <p:ph type="sldNum" sz="quarter" idx="12"/>
          </p:nvPr>
        </p:nvSpPr>
        <p:spPr/>
        <p:txBody>
          <a:bodyPr/>
          <a:lstStyle/>
          <a:p>
            <a:fld id="{87556ABE-6FCD-4DFC-BD98-7D2F82604A71}" type="slidenum">
              <a:rPr lang="en-IN" smtClean="0"/>
              <a:t>‹#›</a:t>
            </a:fld>
            <a:endParaRPr lang="en-IN"/>
          </a:p>
        </p:txBody>
      </p:sp>
    </p:spTree>
    <p:extLst>
      <p:ext uri="{BB962C8B-B14F-4D97-AF65-F5344CB8AC3E}">
        <p14:creationId xmlns:p14="http://schemas.microsoft.com/office/powerpoint/2010/main" val="348288099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51479E-5C73-480E-91C9-C3443662D4B7}"/>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7015E135-50D3-48A4-A2B4-1F59E04F8B97}"/>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EACBDB48-41B2-477C-9000-CE7CD607E160}"/>
              </a:ext>
            </a:extLst>
          </p:cNvPr>
          <p:cNvSpPr>
            <a:spLocks noGrp="1"/>
          </p:cNvSpPr>
          <p:nvPr>
            <p:ph type="dt" sz="half" idx="10"/>
          </p:nvPr>
        </p:nvSpPr>
        <p:spPr/>
        <p:txBody>
          <a:bodyPr/>
          <a:lstStyle/>
          <a:p>
            <a:fld id="{303D6171-ACA4-4DB1-9BD3-A5169906E256}" type="datetimeFigureOut">
              <a:rPr lang="en-IN" smtClean="0"/>
              <a:t>11-10-2023</a:t>
            </a:fld>
            <a:endParaRPr lang="en-IN"/>
          </a:p>
        </p:txBody>
      </p:sp>
      <p:sp>
        <p:nvSpPr>
          <p:cNvPr id="5" name="Footer Placeholder 4">
            <a:extLst>
              <a:ext uri="{FF2B5EF4-FFF2-40B4-BE49-F238E27FC236}">
                <a16:creationId xmlns:a16="http://schemas.microsoft.com/office/drawing/2014/main" id="{6496E209-81A3-4F62-85DE-17DA973958C8}"/>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DADCC8DF-FCE0-4AF6-BFC9-B699E9C2A289}"/>
              </a:ext>
            </a:extLst>
          </p:cNvPr>
          <p:cNvSpPr>
            <a:spLocks noGrp="1"/>
          </p:cNvSpPr>
          <p:nvPr>
            <p:ph type="sldNum" sz="quarter" idx="12"/>
          </p:nvPr>
        </p:nvSpPr>
        <p:spPr/>
        <p:txBody>
          <a:bodyPr/>
          <a:lstStyle/>
          <a:p>
            <a:fld id="{87556ABE-6FCD-4DFC-BD98-7D2F82604A71}" type="slidenum">
              <a:rPr lang="en-IN" smtClean="0"/>
              <a:t>‹#›</a:t>
            </a:fld>
            <a:endParaRPr lang="en-IN"/>
          </a:p>
        </p:txBody>
      </p:sp>
    </p:spTree>
    <p:extLst>
      <p:ext uri="{BB962C8B-B14F-4D97-AF65-F5344CB8AC3E}">
        <p14:creationId xmlns:p14="http://schemas.microsoft.com/office/powerpoint/2010/main" val="34416146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4BE81D-8B80-49A2-9925-61A00D17BF9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N"/>
          </a:p>
        </p:txBody>
      </p:sp>
      <p:sp>
        <p:nvSpPr>
          <p:cNvPr id="3" name="Text Placeholder 2">
            <a:extLst>
              <a:ext uri="{FF2B5EF4-FFF2-40B4-BE49-F238E27FC236}">
                <a16:creationId xmlns:a16="http://schemas.microsoft.com/office/drawing/2014/main" id="{B1AF5CF8-658B-40CD-814D-1A06EE45D01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0E4DCE38-B1A0-4FBC-9ABD-F9F013DED55D}"/>
              </a:ext>
            </a:extLst>
          </p:cNvPr>
          <p:cNvSpPr>
            <a:spLocks noGrp="1"/>
          </p:cNvSpPr>
          <p:nvPr>
            <p:ph type="dt" sz="half" idx="10"/>
          </p:nvPr>
        </p:nvSpPr>
        <p:spPr/>
        <p:txBody>
          <a:bodyPr/>
          <a:lstStyle/>
          <a:p>
            <a:fld id="{303D6171-ACA4-4DB1-9BD3-A5169906E256}" type="datetimeFigureOut">
              <a:rPr lang="en-IN" smtClean="0"/>
              <a:t>11-10-2023</a:t>
            </a:fld>
            <a:endParaRPr lang="en-IN"/>
          </a:p>
        </p:txBody>
      </p:sp>
      <p:sp>
        <p:nvSpPr>
          <p:cNvPr id="5" name="Footer Placeholder 4">
            <a:extLst>
              <a:ext uri="{FF2B5EF4-FFF2-40B4-BE49-F238E27FC236}">
                <a16:creationId xmlns:a16="http://schemas.microsoft.com/office/drawing/2014/main" id="{0BD446F1-9285-42B1-9131-D2A2FDBA91D7}"/>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9A71BB7C-5CCD-4191-9851-06861D9224F8}"/>
              </a:ext>
            </a:extLst>
          </p:cNvPr>
          <p:cNvSpPr>
            <a:spLocks noGrp="1"/>
          </p:cNvSpPr>
          <p:nvPr>
            <p:ph type="sldNum" sz="quarter" idx="12"/>
          </p:nvPr>
        </p:nvSpPr>
        <p:spPr/>
        <p:txBody>
          <a:bodyPr/>
          <a:lstStyle/>
          <a:p>
            <a:fld id="{87556ABE-6FCD-4DFC-BD98-7D2F82604A71}" type="slidenum">
              <a:rPr lang="en-IN" smtClean="0"/>
              <a:t>‹#›</a:t>
            </a:fld>
            <a:endParaRPr lang="en-IN"/>
          </a:p>
        </p:txBody>
      </p:sp>
    </p:spTree>
    <p:extLst>
      <p:ext uri="{BB962C8B-B14F-4D97-AF65-F5344CB8AC3E}">
        <p14:creationId xmlns:p14="http://schemas.microsoft.com/office/powerpoint/2010/main" val="230739942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BDCB5B-404C-415C-B5AD-C9DC0E44CD6C}"/>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03C6C109-F94A-471C-BDDC-9E632D78D4A4}"/>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a:extLst>
              <a:ext uri="{FF2B5EF4-FFF2-40B4-BE49-F238E27FC236}">
                <a16:creationId xmlns:a16="http://schemas.microsoft.com/office/drawing/2014/main" id="{1290AFB5-0121-40A7-A13C-60D9F3BAD8BD}"/>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a:extLst>
              <a:ext uri="{FF2B5EF4-FFF2-40B4-BE49-F238E27FC236}">
                <a16:creationId xmlns:a16="http://schemas.microsoft.com/office/drawing/2014/main" id="{63FC822D-3686-4CFC-A4C5-32CFD0657A72}"/>
              </a:ext>
            </a:extLst>
          </p:cNvPr>
          <p:cNvSpPr>
            <a:spLocks noGrp="1"/>
          </p:cNvSpPr>
          <p:nvPr>
            <p:ph type="dt" sz="half" idx="10"/>
          </p:nvPr>
        </p:nvSpPr>
        <p:spPr/>
        <p:txBody>
          <a:bodyPr/>
          <a:lstStyle/>
          <a:p>
            <a:fld id="{303D6171-ACA4-4DB1-9BD3-A5169906E256}" type="datetimeFigureOut">
              <a:rPr lang="en-IN" smtClean="0"/>
              <a:t>11-10-2023</a:t>
            </a:fld>
            <a:endParaRPr lang="en-IN"/>
          </a:p>
        </p:txBody>
      </p:sp>
      <p:sp>
        <p:nvSpPr>
          <p:cNvPr id="6" name="Footer Placeholder 5">
            <a:extLst>
              <a:ext uri="{FF2B5EF4-FFF2-40B4-BE49-F238E27FC236}">
                <a16:creationId xmlns:a16="http://schemas.microsoft.com/office/drawing/2014/main" id="{917BC1C5-5BBE-4735-B5EB-5D5A7C8B30BE}"/>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92C1ABB7-632E-445D-A105-8A121FE356A4}"/>
              </a:ext>
            </a:extLst>
          </p:cNvPr>
          <p:cNvSpPr>
            <a:spLocks noGrp="1"/>
          </p:cNvSpPr>
          <p:nvPr>
            <p:ph type="sldNum" sz="quarter" idx="12"/>
          </p:nvPr>
        </p:nvSpPr>
        <p:spPr/>
        <p:txBody>
          <a:bodyPr/>
          <a:lstStyle/>
          <a:p>
            <a:fld id="{87556ABE-6FCD-4DFC-BD98-7D2F82604A71}" type="slidenum">
              <a:rPr lang="en-IN" smtClean="0"/>
              <a:t>‹#›</a:t>
            </a:fld>
            <a:endParaRPr lang="en-IN"/>
          </a:p>
        </p:txBody>
      </p:sp>
    </p:spTree>
    <p:extLst>
      <p:ext uri="{BB962C8B-B14F-4D97-AF65-F5344CB8AC3E}">
        <p14:creationId xmlns:p14="http://schemas.microsoft.com/office/powerpoint/2010/main" val="27426347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BAC4AC-0944-4C0D-BE56-18635D0C9320}"/>
              </a:ext>
            </a:extLst>
          </p:cNvPr>
          <p:cNvSpPr>
            <a:spLocks noGrp="1"/>
          </p:cNvSpPr>
          <p:nvPr>
            <p:ph type="title"/>
          </p:nvPr>
        </p:nvSpPr>
        <p:spPr>
          <a:xfrm>
            <a:off x="839788" y="365125"/>
            <a:ext cx="10515600" cy="1325563"/>
          </a:xfrm>
        </p:spPr>
        <p:txBody>
          <a:bodyPr/>
          <a:lstStyle/>
          <a:p>
            <a:r>
              <a:rPr lang="en-US"/>
              <a:t>Click to edit Master title style</a:t>
            </a:r>
            <a:endParaRPr lang="en-IN"/>
          </a:p>
        </p:txBody>
      </p:sp>
      <p:sp>
        <p:nvSpPr>
          <p:cNvPr id="3" name="Text Placeholder 2">
            <a:extLst>
              <a:ext uri="{FF2B5EF4-FFF2-40B4-BE49-F238E27FC236}">
                <a16:creationId xmlns:a16="http://schemas.microsoft.com/office/drawing/2014/main" id="{349FB05E-9BF4-4BA0-8F17-7D5C6DFD3E1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922C1D35-B671-4D4D-A206-8311A2951D69}"/>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a:extLst>
              <a:ext uri="{FF2B5EF4-FFF2-40B4-BE49-F238E27FC236}">
                <a16:creationId xmlns:a16="http://schemas.microsoft.com/office/drawing/2014/main" id="{7829CFE5-4C3D-4BAC-A64B-64EAC0D4EC2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BB1354DB-B14B-4AC2-A102-F22473947918}"/>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a:extLst>
              <a:ext uri="{FF2B5EF4-FFF2-40B4-BE49-F238E27FC236}">
                <a16:creationId xmlns:a16="http://schemas.microsoft.com/office/drawing/2014/main" id="{5274520E-A2BE-4909-A2B5-CF4F7871D83A}"/>
              </a:ext>
            </a:extLst>
          </p:cNvPr>
          <p:cNvSpPr>
            <a:spLocks noGrp="1"/>
          </p:cNvSpPr>
          <p:nvPr>
            <p:ph type="dt" sz="half" idx="10"/>
          </p:nvPr>
        </p:nvSpPr>
        <p:spPr/>
        <p:txBody>
          <a:bodyPr/>
          <a:lstStyle/>
          <a:p>
            <a:fld id="{303D6171-ACA4-4DB1-9BD3-A5169906E256}" type="datetimeFigureOut">
              <a:rPr lang="en-IN" smtClean="0"/>
              <a:t>11-10-2023</a:t>
            </a:fld>
            <a:endParaRPr lang="en-IN"/>
          </a:p>
        </p:txBody>
      </p:sp>
      <p:sp>
        <p:nvSpPr>
          <p:cNvPr id="8" name="Footer Placeholder 7">
            <a:extLst>
              <a:ext uri="{FF2B5EF4-FFF2-40B4-BE49-F238E27FC236}">
                <a16:creationId xmlns:a16="http://schemas.microsoft.com/office/drawing/2014/main" id="{06943AA8-9E69-4EDC-AB31-2A20BE57E861}"/>
              </a:ext>
            </a:extLst>
          </p:cNvPr>
          <p:cNvSpPr>
            <a:spLocks noGrp="1"/>
          </p:cNvSpPr>
          <p:nvPr>
            <p:ph type="ftr" sz="quarter" idx="11"/>
          </p:nvPr>
        </p:nvSpPr>
        <p:spPr/>
        <p:txBody>
          <a:bodyPr/>
          <a:lstStyle/>
          <a:p>
            <a:endParaRPr lang="en-IN"/>
          </a:p>
        </p:txBody>
      </p:sp>
      <p:sp>
        <p:nvSpPr>
          <p:cNvPr id="9" name="Slide Number Placeholder 8">
            <a:extLst>
              <a:ext uri="{FF2B5EF4-FFF2-40B4-BE49-F238E27FC236}">
                <a16:creationId xmlns:a16="http://schemas.microsoft.com/office/drawing/2014/main" id="{D2810860-4F03-4ABB-956D-02BD9ECF049E}"/>
              </a:ext>
            </a:extLst>
          </p:cNvPr>
          <p:cNvSpPr>
            <a:spLocks noGrp="1"/>
          </p:cNvSpPr>
          <p:nvPr>
            <p:ph type="sldNum" sz="quarter" idx="12"/>
          </p:nvPr>
        </p:nvSpPr>
        <p:spPr/>
        <p:txBody>
          <a:bodyPr/>
          <a:lstStyle/>
          <a:p>
            <a:fld id="{87556ABE-6FCD-4DFC-BD98-7D2F82604A71}" type="slidenum">
              <a:rPr lang="en-IN" smtClean="0"/>
              <a:t>‹#›</a:t>
            </a:fld>
            <a:endParaRPr lang="en-IN"/>
          </a:p>
        </p:txBody>
      </p:sp>
    </p:spTree>
    <p:extLst>
      <p:ext uri="{BB962C8B-B14F-4D97-AF65-F5344CB8AC3E}">
        <p14:creationId xmlns:p14="http://schemas.microsoft.com/office/powerpoint/2010/main" val="13006529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17BF0B-A758-4EB4-956F-BBE025CDFF8D}"/>
              </a:ext>
            </a:extLst>
          </p:cNvPr>
          <p:cNvSpPr>
            <a:spLocks noGrp="1"/>
          </p:cNvSpPr>
          <p:nvPr>
            <p:ph type="title"/>
          </p:nvPr>
        </p:nvSpPr>
        <p:spPr/>
        <p:txBody>
          <a:bodyPr/>
          <a:lstStyle/>
          <a:p>
            <a:r>
              <a:rPr lang="en-US"/>
              <a:t>Click to edit Master title style</a:t>
            </a:r>
            <a:endParaRPr lang="en-IN"/>
          </a:p>
        </p:txBody>
      </p:sp>
      <p:sp>
        <p:nvSpPr>
          <p:cNvPr id="3" name="Date Placeholder 2">
            <a:extLst>
              <a:ext uri="{FF2B5EF4-FFF2-40B4-BE49-F238E27FC236}">
                <a16:creationId xmlns:a16="http://schemas.microsoft.com/office/drawing/2014/main" id="{CB155EB2-E3B1-49E0-8B50-6AF392C770EF}"/>
              </a:ext>
            </a:extLst>
          </p:cNvPr>
          <p:cNvSpPr>
            <a:spLocks noGrp="1"/>
          </p:cNvSpPr>
          <p:nvPr>
            <p:ph type="dt" sz="half" idx="10"/>
          </p:nvPr>
        </p:nvSpPr>
        <p:spPr/>
        <p:txBody>
          <a:bodyPr/>
          <a:lstStyle/>
          <a:p>
            <a:fld id="{303D6171-ACA4-4DB1-9BD3-A5169906E256}" type="datetimeFigureOut">
              <a:rPr lang="en-IN" smtClean="0"/>
              <a:t>11-10-2023</a:t>
            </a:fld>
            <a:endParaRPr lang="en-IN"/>
          </a:p>
        </p:txBody>
      </p:sp>
      <p:sp>
        <p:nvSpPr>
          <p:cNvPr id="4" name="Footer Placeholder 3">
            <a:extLst>
              <a:ext uri="{FF2B5EF4-FFF2-40B4-BE49-F238E27FC236}">
                <a16:creationId xmlns:a16="http://schemas.microsoft.com/office/drawing/2014/main" id="{AF326F8A-6359-43B5-B877-0B897FE7C703}"/>
              </a:ext>
            </a:extLst>
          </p:cNvPr>
          <p:cNvSpPr>
            <a:spLocks noGrp="1"/>
          </p:cNvSpPr>
          <p:nvPr>
            <p:ph type="ftr" sz="quarter" idx="11"/>
          </p:nvPr>
        </p:nvSpPr>
        <p:spPr/>
        <p:txBody>
          <a:bodyPr/>
          <a:lstStyle/>
          <a:p>
            <a:endParaRPr lang="en-IN"/>
          </a:p>
        </p:txBody>
      </p:sp>
      <p:sp>
        <p:nvSpPr>
          <p:cNvPr id="5" name="Slide Number Placeholder 4">
            <a:extLst>
              <a:ext uri="{FF2B5EF4-FFF2-40B4-BE49-F238E27FC236}">
                <a16:creationId xmlns:a16="http://schemas.microsoft.com/office/drawing/2014/main" id="{C6B5DDD2-6044-4C13-8E18-3834CFB631B4}"/>
              </a:ext>
            </a:extLst>
          </p:cNvPr>
          <p:cNvSpPr>
            <a:spLocks noGrp="1"/>
          </p:cNvSpPr>
          <p:nvPr>
            <p:ph type="sldNum" sz="quarter" idx="12"/>
          </p:nvPr>
        </p:nvSpPr>
        <p:spPr/>
        <p:txBody>
          <a:bodyPr/>
          <a:lstStyle/>
          <a:p>
            <a:fld id="{87556ABE-6FCD-4DFC-BD98-7D2F82604A71}" type="slidenum">
              <a:rPr lang="en-IN" smtClean="0"/>
              <a:t>‹#›</a:t>
            </a:fld>
            <a:endParaRPr lang="en-IN"/>
          </a:p>
        </p:txBody>
      </p:sp>
    </p:spTree>
    <p:extLst>
      <p:ext uri="{BB962C8B-B14F-4D97-AF65-F5344CB8AC3E}">
        <p14:creationId xmlns:p14="http://schemas.microsoft.com/office/powerpoint/2010/main" val="8537237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FCFFF78-BA55-4F17-9293-3F04AC5BE735}"/>
              </a:ext>
            </a:extLst>
          </p:cNvPr>
          <p:cNvSpPr>
            <a:spLocks noGrp="1"/>
          </p:cNvSpPr>
          <p:nvPr>
            <p:ph type="dt" sz="half" idx="10"/>
          </p:nvPr>
        </p:nvSpPr>
        <p:spPr/>
        <p:txBody>
          <a:bodyPr/>
          <a:lstStyle/>
          <a:p>
            <a:fld id="{303D6171-ACA4-4DB1-9BD3-A5169906E256}" type="datetimeFigureOut">
              <a:rPr lang="en-IN" smtClean="0"/>
              <a:t>11-10-2023</a:t>
            </a:fld>
            <a:endParaRPr lang="en-IN"/>
          </a:p>
        </p:txBody>
      </p:sp>
      <p:sp>
        <p:nvSpPr>
          <p:cNvPr id="3" name="Footer Placeholder 2">
            <a:extLst>
              <a:ext uri="{FF2B5EF4-FFF2-40B4-BE49-F238E27FC236}">
                <a16:creationId xmlns:a16="http://schemas.microsoft.com/office/drawing/2014/main" id="{431A43ED-6E88-4A76-9061-873AB67115E8}"/>
              </a:ext>
            </a:extLst>
          </p:cNvPr>
          <p:cNvSpPr>
            <a:spLocks noGrp="1"/>
          </p:cNvSpPr>
          <p:nvPr>
            <p:ph type="ftr" sz="quarter" idx="11"/>
          </p:nvPr>
        </p:nvSpPr>
        <p:spPr/>
        <p:txBody>
          <a:bodyPr/>
          <a:lstStyle/>
          <a:p>
            <a:endParaRPr lang="en-IN"/>
          </a:p>
        </p:txBody>
      </p:sp>
      <p:sp>
        <p:nvSpPr>
          <p:cNvPr id="4" name="Slide Number Placeholder 3">
            <a:extLst>
              <a:ext uri="{FF2B5EF4-FFF2-40B4-BE49-F238E27FC236}">
                <a16:creationId xmlns:a16="http://schemas.microsoft.com/office/drawing/2014/main" id="{29A5DAA0-7D4D-4517-AA96-C2CB5535C91B}"/>
              </a:ext>
            </a:extLst>
          </p:cNvPr>
          <p:cNvSpPr>
            <a:spLocks noGrp="1"/>
          </p:cNvSpPr>
          <p:nvPr>
            <p:ph type="sldNum" sz="quarter" idx="12"/>
          </p:nvPr>
        </p:nvSpPr>
        <p:spPr/>
        <p:txBody>
          <a:bodyPr/>
          <a:lstStyle/>
          <a:p>
            <a:fld id="{87556ABE-6FCD-4DFC-BD98-7D2F82604A71}" type="slidenum">
              <a:rPr lang="en-IN" smtClean="0"/>
              <a:t>‹#›</a:t>
            </a:fld>
            <a:endParaRPr lang="en-IN"/>
          </a:p>
        </p:txBody>
      </p:sp>
    </p:spTree>
    <p:extLst>
      <p:ext uri="{BB962C8B-B14F-4D97-AF65-F5344CB8AC3E}">
        <p14:creationId xmlns:p14="http://schemas.microsoft.com/office/powerpoint/2010/main" val="16062447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812A77-2D7A-405B-85EF-E57969F2626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Content Placeholder 2">
            <a:extLst>
              <a:ext uri="{FF2B5EF4-FFF2-40B4-BE49-F238E27FC236}">
                <a16:creationId xmlns:a16="http://schemas.microsoft.com/office/drawing/2014/main" id="{EB65F3C8-97E3-47B0-AB5A-E008A4FE303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a:extLst>
              <a:ext uri="{FF2B5EF4-FFF2-40B4-BE49-F238E27FC236}">
                <a16:creationId xmlns:a16="http://schemas.microsoft.com/office/drawing/2014/main" id="{135AE5CA-9E1E-4D29-86A4-91CCF2E4CEA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1208EB26-B853-4042-AE1B-2335BFAAFB29}"/>
              </a:ext>
            </a:extLst>
          </p:cNvPr>
          <p:cNvSpPr>
            <a:spLocks noGrp="1"/>
          </p:cNvSpPr>
          <p:nvPr>
            <p:ph type="dt" sz="half" idx="10"/>
          </p:nvPr>
        </p:nvSpPr>
        <p:spPr/>
        <p:txBody>
          <a:bodyPr/>
          <a:lstStyle/>
          <a:p>
            <a:fld id="{303D6171-ACA4-4DB1-9BD3-A5169906E256}" type="datetimeFigureOut">
              <a:rPr lang="en-IN" smtClean="0"/>
              <a:t>11-10-2023</a:t>
            </a:fld>
            <a:endParaRPr lang="en-IN"/>
          </a:p>
        </p:txBody>
      </p:sp>
      <p:sp>
        <p:nvSpPr>
          <p:cNvPr id="6" name="Footer Placeholder 5">
            <a:extLst>
              <a:ext uri="{FF2B5EF4-FFF2-40B4-BE49-F238E27FC236}">
                <a16:creationId xmlns:a16="http://schemas.microsoft.com/office/drawing/2014/main" id="{A41293A8-CFED-4706-BDDE-6589B11E5E51}"/>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D478F09A-ECEA-440E-A332-845DBC2AAAF6}"/>
              </a:ext>
            </a:extLst>
          </p:cNvPr>
          <p:cNvSpPr>
            <a:spLocks noGrp="1"/>
          </p:cNvSpPr>
          <p:nvPr>
            <p:ph type="sldNum" sz="quarter" idx="12"/>
          </p:nvPr>
        </p:nvSpPr>
        <p:spPr/>
        <p:txBody>
          <a:bodyPr/>
          <a:lstStyle/>
          <a:p>
            <a:fld id="{87556ABE-6FCD-4DFC-BD98-7D2F82604A71}" type="slidenum">
              <a:rPr lang="en-IN" smtClean="0"/>
              <a:t>‹#›</a:t>
            </a:fld>
            <a:endParaRPr lang="en-IN"/>
          </a:p>
        </p:txBody>
      </p:sp>
    </p:spTree>
    <p:extLst>
      <p:ext uri="{BB962C8B-B14F-4D97-AF65-F5344CB8AC3E}">
        <p14:creationId xmlns:p14="http://schemas.microsoft.com/office/powerpoint/2010/main" val="19479239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922E28-3F33-4F70-A499-EA962B577D9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Picture Placeholder 2">
            <a:extLst>
              <a:ext uri="{FF2B5EF4-FFF2-40B4-BE49-F238E27FC236}">
                <a16:creationId xmlns:a16="http://schemas.microsoft.com/office/drawing/2014/main" id="{6D59E3AF-9DD3-4483-BFA7-15139A331F5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a:p>
        </p:txBody>
      </p:sp>
      <p:sp>
        <p:nvSpPr>
          <p:cNvPr id="4" name="Text Placeholder 3">
            <a:extLst>
              <a:ext uri="{FF2B5EF4-FFF2-40B4-BE49-F238E27FC236}">
                <a16:creationId xmlns:a16="http://schemas.microsoft.com/office/drawing/2014/main" id="{42C9C65B-9C61-4010-B279-93D0D9762F8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56814EB2-E1E6-49AD-ACC9-D18900F4E5F8}"/>
              </a:ext>
            </a:extLst>
          </p:cNvPr>
          <p:cNvSpPr>
            <a:spLocks noGrp="1"/>
          </p:cNvSpPr>
          <p:nvPr>
            <p:ph type="dt" sz="half" idx="10"/>
          </p:nvPr>
        </p:nvSpPr>
        <p:spPr/>
        <p:txBody>
          <a:bodyPr/>
          <a:lstStyle/>
          <a:p>
            <a:fld id="{303D6171-ACA4-4DB1-9BD3-A5169906E256}" type="datetimeFigureOut">
              <a:rPr lang="en-IN" smtClean="0"/>
              <a:t>11-10-2023</a:t>
            </a:fld>
            <a:endParaRPr lang="en-IN"/>
          </a:p>
        </p:txBody>
      </p:sp>
      <p:sp>
        <p:nvSpPr>
          <p:cNvPr id="6" name="Footer Placeholder 5">
            <a:extLst>
              <a:ext uri="{FF2B5EF4-FFF2-40B4-BE49-F238E27FC236}">
                <a16:creationId xmlns:a16="http://schemas.microsoft.com/office/drawing/2014/main" id="{B6D56A13-BDF4-4E6C-B63D-020CF2902B4D}"/>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A5B2C501-D912-4D5B-A1FB-3D82E75A665A}"/>
              </a:ext>
            </a:extLst>
          </p:cNvPr>
          <p:cNvSpPr>
            <a:spLocks noGrp="1"/>
          </p:cNvSpPr>
          <p:nvPr>
            <p:ph type="sldNum" sz="quarter" idx="12"/>
          </p:nvPr>
        </p:nvSpPr>
        <p:spPr/>
        <p:txBody>
          <a:bodyPr/>
          <a:lstStyle/>
          <a:p>
            <a:fld id="{87556ABE-6FCD-4DFC-BD98-7D2F82604A71}" type="slidenum">
              <a:rPr lang="en-IN" smtClean="0"/>
              <a:t>‹#›</a:t>
            </a:fld>
            <a:endParaRPr lang="en-IN"/>
          </a:p>
        </p:txBody>
      </p:sp>
    </p:spTree>
    <p:extLst>
      <p:ext uri="{BB962C8B-B14F-4D97-AF65-F5344CB8AC3E}">
        <p14:creationId xmlns:p14="http://schemas.microsoft.com/office/powerpoint/2010/main" val="96655582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BDD1078-1705-70B1-B347-8FB6E71D191A}"/>
              </a:ext>
            </a:extLst>
          </p:cNvPr>
          <p:cNvGraphicFramePr>
            <a:graphicFrameLocks noChangeAspect="1"/>
          </p:cNvGraphicFramePr>
          <p:nvPr userDrawn="1">
            <p:custDataLst>
              <p:tags r:id="rId13"/>
            </p:custDataLst>
            <p:extLst>
              <p:ext uri="{D42A27DB-BD31-4B8C-83A1-F6EECF244321}">
                <p14:modId xmlns:p14="http://schemas.microsoft.com/office/powerpoint/2010/main" val="23088822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95" imgH="396" progId="TCLayout.ActiveDocument.1">
                  <p:embed/>
                </p:oleObj>
              </mc:Choice>
              <mc:Fallback>
                <p:oleObj name="think-cell Slide" r:id="rId14" imgW="395" imgH="396" progId="TCLayout.ActiveDocument.1">
                  <p:embed/>
                  <p:pic>
                    <p:nvPicPr>
                      <p:cNvPr id="8" name="Object 7" hidden="1">
                        <a:extLst>
                          <a:ext uri="{FF2B5EF4-FFF2-40B4-BE49-F238E27FC236}">
                            <a16:creationId xmlns:a16="http://schemas.microsoft.com/office/drawing/2014/main" id="{0BDD1078-1705-70B1-B347-8FB6E71D191A}"/>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FB54C084-0757-453C-8565-660590FDD96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a:extLst>
              <a:ext uri="{FF2B5EF4-FFF2-40B4-BE49-F238E27FC236}">
                <a16:creationId xmlns:a16="http://schemas.microsoft.com/office/drawing/2014/main" id="{678A0036-34AB-4BAE-A115-8CE1473D027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9BFF800F-ACC2-44F8-820E-112CE3EA5B6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03D6171-ACA4-4DB1-9BD3-A5169906E256}" type="datetimeFigureOut">
              <a:rPr lang="en-IN" smtClean="0"/>
              <a:t>11-10-2023</a:t>
            </a:fld>
            <a:endParaRPr lang="en-IN"/>
          </a:p>
        </p:txBody>
      </p:sp>
      <p:sp>
        <p:nvSpPr>
          <p:cNvPr id="5" name="Footer Placeholder 4">
            <a:extLst>
              <a:ext uri="{FF2B5EF4-FFF2-40B4-BE49-F238E27FC236}">
                <a16:creationId xmlns:a16="http://schemas.microsoft.com/office/drawing/2014/main" id="{0DEE5B2D-9467-4915-AE99-3B4269B86A1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a:p>
        </p:txBody>
      </p:sp>
      <p:sp>
        <p:nvSpPr>
          <p:cNvPr id="6" name="Slide Number Placeholder 5">
            <a:extLst>
              <a:ext uri="{FF2B5EF4-FFF2-40B4-BE49-F238E27FC236}">
                <a16:creationId xmlns:a16="http://schemas.microsoft.com/office/drawing/2014/main" id="{22D1D960-8D70-4AF3-A85F-2E1B44DEB40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7556ABE-6FCD-4DFC-BD98-7D2F82604A71}" type="slidenum">
              <a:rPr lang="en-IN" smtClean="0"/>
              <a:t>‹#›</a:t>
            </a:fld>
            <a:endParaRPr lang="en-IN"/>
          </a:p>
        </p:txBody>
      </p:sp>
    </p:spTree>
    <p:extLst>
      <p:ext uri="{BB962C8B-B14F-4D97-AF65-F5344CB8AC3E}">
        <p14:creationId xmlns:p14="http://schemas.microsoft.com/office/powerpoint/2010/main" val="50456201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2.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36.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37.xml"/><Relationship Id="rId5" Type="http://schemas.openxmlformats.org/officeDocument/2006/relationships/image" Target="../media/image35.png"/><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tags" Target="../tags/tag38.xml"/><Relationship Id="rId5" Type="http://schemas.openxmlformats.org/officeDocument/2006/relationships/image" Target="../media/image36.png"/><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2" Type="http://schemas.openxmlformats.org/officeDocument/2006/relationships/image" Target="../media/image37.jp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3.png"/><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xml.rels><?xml version="1.0" encoding="UTF-8" standalone="yes"?>
<Relationships xmlns="http://schemas.openxmlformats.org/package/2006/relationships"><Relationship Id="rId8" Type="http://schemas.openxmlformats.org/officeDocument/2006/relationships/tags" Target="../tags/tag12.xml"/><Relationship Id="rId13" Type="http://schemas.openxmlformats.org/officeDocument/2006/relationships/tags" Target="../tags/tag17.xml"/><Relationship Id="rId18" Type="http://schemas.openxmlformats.org/officeDocument/2006/relationships/tags" Target="../tags/tag22.xml"/><Relationship Id="rId3" Type="http://schemas.openxmlformats.org/officeDocument/2006/relationships/tags" Target="../tags/tag7.xml"/><Relationship Id="rId21" Type="http://schemas.openxmlformats.org/officeDocument/2006/relationships/slideLayout" Target="../slideLayouts/slideLayout6.xml"/><Relationship Id="rId7" Type="http://schemas.openxmlformats.org/officeDocument/2006/relationships/tags" Target="../tags/tag11.xml"/><Relationship Id="rId12" Type="http://schemas.openxmlformats.org/officeDocument/2006/relationships/tags" Target="../tags/tag16.xml"/><Relationship Id="rId17" Type="http://schemas.openxmlformats.org/officeDocument/2006/relationships/tags" Target="../tags/tag21.xml"/><Relationship Id="rId2" Type="http://schemas.openxmlformats.org/officeDocument/2006/relationships/tags" Target="../tags/tag6.xml"/><Relationship Id="rId16" Type="http://schemas.openxmlformats.org/officeDocument/2006/relationships/tags" Target="../tags/tag20.xml"/><Relationship Id="rId20" Type="http://schemas.openxmlformats.org/officeDocument/2006/relationships/tags" Target="../tags/tag24.xml"/><Relationship Id="rId1" Type="http://schemas.openxmlformats.org/officeDocument/2006/relationships/tags" Target="../tags/tag5.xml"/><Relationship Id="rId6" Type="http://schemas.openxmlformats.org/officeDocument/2006/relationships/tags" Target="../tags/tag10.xml"/><Relationship Id="rId11" Type="http://schemas.openxmlformats.org/officeDocument/2006/relationships/tags" Target="../tags/tag15.xml"/><Relationship Id="rId5" Type="http://schemas.openxmlformats.org/officeDocument/2006/relationships/tags" Target="../tags/tag9.xml"/><Relationship Id="rId15" Type="http://schemas.openxmlformats.org/officeDocument/2006/relationships/tags" Target="../tags/tag19.xml"/><Relationship Id="rId10" Type="http://schemas.openxmlformats.org/officeDocument/2006/relationships/tags" Target="../tags/tag14.xml"/><Relationship Id="rId19" Type="http://schemas.openxmlformats.org/officeDocument/2006/relationships/tags" Target="../tags/tag23.xml"/><Relationship Id="rId4" Type="http://schemas.openxmlformats.org/officeDocument/2006/relationships/tags" Target="../tags/tag8.xml"/><Relationship Id="rId9" Type="http://schemas.openxmlformats.org/officeDocument/2006/relationships/tags" Target="../tags/tag13.xml"/><Relationship Id="rId14" Type="http://schemas.openxmlformats.org/officeDocument/2006/relationships/tags" Target="../tags/tag18.xml"/></Relationships>
</file>

<file path=ppt/slides/_rels/slide4.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27.xml"/><Relationship Id="rId7" Type="http://schemas.openxmlformats.org/officeDocument/2006/relationships/slideLayout" Target="../slideLayouts/slideLayout2.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tags" Target="../tags/tag30.xml"/><Relationship Id="rId5" Type="http://schemas.openxmlformats.org/officeDocument/2006/relationships/tags" Target="../tags/tag29.xml"/><Relationship Id="rId4" Type="http://schemas.openxmlformats.org/officeDocument/2006/relationships/tags" Target="../tags/tag28.xml"/><Relationship Id="rId9" Type="http://schemas.openxmlformats.org/officeDocument/2006/relationships/image" Target="../media/image4.emf"/></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7" Type="http://schemas.openxmlformats.org/officeDocument/2006/relationships/image" Target="../media/image8.png"/><Relationship Id="rId2" Type="http://schemas.openxmlformats.org/officeDocument/2006/relationships/slideLayout" Target="../slideLayouts/slideLayout2.xml"/><Relationship Id="rId1" Type="http://schemas.openxmlformats.org/officeDocument/2006/relationships/tags" Target="../tags/tag31.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32.xml"/></Relationships>
</file>

<file path=ppt/slides/_rels/slide7.xml.rels><?xml version="1.0" encoding="UTF-8" standalone="yes"?>
<Relationships xmlns="http://schemas.openxmlformats.org/package/2006/relationships"><Relationship Id="rId8" Type="http://schemas.openxmlformats.org/officeDocument/2006/relationships/image" Target="../media/image12.svg"/><Relationship Id="rId13" Type="http://schemas.openxmlformats.org/officeDocument/2006/relationships/image" Target="../media/image17.png"/><Relationship Id="rId18" Type="http://schemas.openxmlformats.org/officeDocument/2006/relationships/image" Target="../media/image22.svg"/><Relationship Id="rId3" Type="http://schemas.openxmlformats.org/officeDocument/2006/relationships/oleObject" Target="../embeddings/oleObject4.bin"/><Relationship Id="rId21" Type="http://schemas.openxmlformats.org/officeDocument/2006/relationships/image" Target="../media/image25.png"/><Relationship Id="rId7" Type="http://schemas.openxmlformats.org/officeDocument/2006/relationships/image" Target="../media/image11.png"/><Relationship Id="rId12" Type="http://schemas.openxmlformats.org/officeDocument/2006/relationships/image" Target="../media/image16.svg"/><Relationship Id="rId17" Type="http://schemas.openxmlformats.org/officeDocument/2006/relationships/image" Target="../media/image21.png"/><Relationship Id="rId2" Type="http://schemas.openxmlformats.org/officeDocument/2006/relationships/slideLayout" Target="../slideLayouts/slideLayout2.xml"/><Relationship Id="rId16" Type="http://schemas.openxmlformats.org/officeDocument/2006/relationships/image" Target="../media/image20.svg"/><Relationship Id="rId20" Type="http://schemas.openxmlformats.org/officeDocument/2006/relationships/image" Target="../media/image24.svg"/><Relationship Id="rId1" Type="http://schemas.openxmlformats.org/officeDocument/2006/relationships/tags" Target="../tags/tag33.xml"/><Relationship Id="rId6" Type="http://schemas.openxmlformats.org/officeDocument/2006/relationships/image" Target="../media/image10.svg"/><Relationship Id="rId11" Type="http://schemas.openxmlformats.org/officeDocument/2006/relationships/image" Target="../media/image15.png"/><Relationship Id="rId5" Type="http://schemas.openxmlformats.org/officeDocument/2006/relationships/image" Target="../media/image9.png"/><Relationship Id="rId15" Type="http://schemas.openxmlformats.org/officeDocument/2006/relationships/image" Target="../media/image19.png"/><Relationship Id="rId10" Type="http://schemas.openxmlformats.org/officeDocument/2006/relationships/image" Target="../media/image14.svg"/><Relationship Id="rId19" Type="http://schemas.openxmlformats.org/officeDocument/2006/relationships/image" Target="../media/image23.png"/><Relationship Id="rId4" Type="http://schemas.openxmlformats.org/officeDocument/2006/relationships/image" Target="../media/image1.emf"/><Relationship Id="rId9" Type="http://schemas.openxmlformats.org/officeDocument/2006/relationships/image" Target="../media/image13.png"/><Relationship Id="rId14" Type="http://schemas.openxmlformats.org/officeDocument/2006/relationships/image" Target="../media/image18.svg"/><Relationship Id="rId22" Type="http://schemas.openxmlformats.org/officeDocument/2006/relationships/image" Target="../media/image26.svg"/></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9.png"/><Relationship Id="rId2" Type="http://schemas.openxmlformats.org/officeDocument/2006/relationships/slideLayout" Target="../slideLayouts/slideLayout2.xml"/><Relationship Id="rId1" Type="http://schemas.openxmlformats.org/officeDocument/2006/relationships/tags" Target="../tags/tag34.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32.png"/><Relationship Id="rId2" Type="http://schemas.openxmlformats.org/officeDocument/2006/relationships/slideLayout" Target="../slideLayouts/slideLayout2.xml"/><Relationship Id="rId1" Type="http://schemas.openxmlformats.org/officeDocument/2006/relationships/tags" Target="../tags/tag35.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F9B26AA-F978-A721-DE6C-B9A24C634695}"/>
              </a:ext>
            </a:extLst>
          </p:cNvPr>
          <p:cNvGraphicFramePr>
            <a:graphicFrameLocks noChangeAspect="1"/>
          </p:cNvGraphicFramePr>
          <p:nvPr>
            <p:custDataLst>
              <p:tags r:id="rId2"/>
            </p:custDataLst>
            <p:extLst>
              <p:ext uri="{D42A27DB-BD31-4B8C-83A1-F6EECF244321}">
                <p14:modId xmlns:p14="http://schemas.microsoft.com/office/powerpoint/2010/main" val="1675386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8F9B26AA-F978-A721-DE6C-B9A24C63469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p:nvPicPr>
        <p:blipFill rotWithShape="1">
          <a:blip r:embed="rId6">
            <a:extLst>
              <a:ext uri="{28A0092B-C50C-407E-A947-70E740481C1C}">
                <a14:useLocalDpi xmlns:a14="http://schemas.microsoft.com/office/drawing/2010/main" val="0"/>
              </a:ext>
            </a:extLst>
          </a:blip>
          <a:srcRect t="24922"/>
          <a:stretch/>
        </p:blipFill>
        <p:spPr>
          <a:xfrm>
            <a:off x="-2" y="0"/>
            <a:ext cx="12192002" cy="6858002"/>
          </a:xfrm>
          <a:prstGeom prst="rect">
            <a:avLst/>
          </a:prstGeom>
        </p:spPr>
      </p:pic>
      <p:sp>
        <p:nvSpPr>
          <p:cNvPr id="6" name="Triangle rectangle 3"/>
          <p:cNvSpPr/>
          <p:nvPr/>
        </p:nvSpPr>
        <p:spPr>
          <a:xfrm rot="5400000">
            <a:off x="1175659" y="-1175658"/>
            <a:ext cx="6857997" cy="9209318"/>
          </a:xfrm>
          <a:prstGeom prst="rtTriangle">
            <a:avLst/>
          </a:prstGeom>
          <a:solidFill>
            <a:schemeClr val="tx2">
              <a:lumMod val="10000"/>
              <a:lumOff val="9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88777" y="209889"/>
            <a:ext cx="7886330" cy="706090"/>
          </a:xfrm>
        </p:spPr>
        <p:txBody>
          <a:bodyPr vert="horz">
            <a:normAutofit/>
          </a:bodyPr>
          <a:lstStyle/>
          <a:p>
            <a:r>
              <a:rPr lang="en-IN" sz="4000" dirty="0">
                <a:latin typeface="Gill Sans MT" panose="020B0502020104020203" pitchFamily="34" charset="0"/>
              </a:rPr>
              <a:t>Lending Club Case Study</a:t>
            </a:r>
          </a:p>
        </p:txBody>
      </p:sp>
    </p:spTree>
    <p:custDataLst>
      <p:tags r:id="rId1"/>
    </p:custDataLst>
    <p:extLst>
      <p:ext uri="{BB962C8B-B14F-4D97-AF65-F5344CB8AC3E}">
        <p14:creationId xmlns:p14="http://schemas.microsoft.com/office/powerpoint/2010/main" val="2324576048"/>
      </p:ext>
    </p:extLst>
  </p:cSld>
  <p:clrMapOvr>
    <a:masterClrMapping/>
  </p:clrMapOvr>
  <mc:AlternateContent xmlns:mc="http://schemas.openxmlformats.org/markup-compatibility/2006" xmlns:p14="http://schemas.microsoft.com/office/powerpoint/2010/main">
    <mc:Choice Requires="p14">
      <p:transition spd="slow" p14:dur="4000">
        <p14:vortex dir="r"/>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up)">
                                      <p:cBhvr>
                                        <p:cTn id="7" dur="1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664C1CF-87DE-0771-19F8-95499784B9B6}"/>
              </a:ext>
            </a:extLst>
          </p:cNvPr>
          <p:cNvGraphicFramePr>
            <a:graphicFrameLocks noChangeAspect="1"/>
          </p:cNvGraphicFramePr>
          <p:nvPr>
            <p:custDataLst>
              <p:tags r:id="rId1"/>
            </p:custDataLst>
            <p:extLst>
              <p:ext uri="{D42A27DB-BD31-4B8C-83A1-F6EECF244321}">
                <p14:modId xmlns:p14="http://schemas.microsoft.com/office/powerpoint/2010/main" val="13924931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C664C1CF-87DE-0771-19F8-95499784B9B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146" name="Picture 2">
            <a:extLst>
              <a:ext uri="{FF2B5EF4-FFF2-40B4-BE49-F238E27FC236}">
                <a16:creationId xmlns:a16="http://schemas.microsoft.com/office/drawing/2014/main" id="{AD447DF6-80C0-4F16-9453-E53FC45F962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91730" y="1911083"/>
            <a:ext cx="3459835" cy="3188383"/>
          </a:xfrm>
          <a:prstGeom prst="rect">
            <a:avLst/>
          </a:prstGeom>
          <a:noFill/>
          <a:extLst>
            <a:ext uri="{909E8E84-426E-40DD-AFC4-6F175D3DCCD1}">
              <a14:hiddenFill xmlns:a14="http://schemas.microsoft.com/office/drawing/2010/main">
                <a:solidFill>
                  <a:srgbClr val="FFFFFF"/>
                </a:solidFill>
              </a14:hiddenFill>
            </a:ext>
          </a:extLst>
        </p:spPr>
      </p:pic>
      <p:pic>
        <p:nvPicPr>
          <p:cNvPr id="6148" name="Picture 4">
            <a:extLst>
              <a:ext uri="{FF2B5EF4-FFF2-40B4-BE49-F238E27FC236}">
                <a16:creationId xmlns:a16="http://schemas.microsoft.com/office/drawing/2014/main" id="{145453A9-4E9C-0593-B5AC-259AF592E5B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863443" y="1691610"/>
            <a:ext cx="3554186" cy="3474777"/>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7D65B526-3ECE-98DE-4873-CE7107847985}"/>
              </a:ext>
            </a:extLst>
          </p:cNvPr>
          <p:cNvSpPr>
            <a:spLocks noGrp="1"/>
          </p:cNvSpPr>
          <p:nvPr>
            <p:ph type="title"/>
          </p:nvPr>
        </p:nvSpPr>
        <p:spPr>
          <a:xfrm>
            <a:off x="58511" y="105018"/>
            <a:ext cx="8037090" cy="692287"/>
          </a:xfrm>
        </p:spPr>
        <p:txBody>
          <a:bodyPr vert="horz">
            <a:normAutofit fontScale="90000"/>
          </a:bodyPr>
          <a:lstStyle/>
          <a:p>
            <a:r>
              <a:rPr lang="en-IN" dirty="0">
                <a:latin typeface="Gill Sans MT" panose="020B0502020104020203" pitchFamily="34" charset="0"/>
              </a:rPr>
              <a:t>Exploratory Analysis – Key Findings</a:t>
            </a:r>
            <a:endParaRPr lang="en-US" dirty="0"/>
          </a:p>
        </p:txBody>
      </p:sp>
      <p:sp>
        <p:nvSpPr>
          <p:cNvPr id="3" name="TextBox 2">
            <a:extLst>
              <a:ext uri="{FF2B5EF4-FFF2-40B4-BE49-F238E27FC236}">
                <a16:creationId xmlns:a16="http://schemas.microsoft.com/office/drawing/2014/main" id="{226F0EDF-5A86-4FF2-1994-C8CC0670495D}"/>
              </a:ext>
            </a:extLst>
          </p:cNvPr>
          <p:cNvSpPr txBox="1"/>
          <p:nvPr/>
        </p:nvSpPr>
        <p:spPr>
          <a:xfrm>
            <a:off x="1337443" y="1566700"/>
            <a:ext cx="2985371" cy="302877"/>
          </a:xfrm>
          <a:prstGeom prst="rect">
            <a:avLst/>
          </a:prstGeom>
          <a:solidFill>
            <a:schemeClr val="accent5">
              <a:lumMod val="60000"/>
              <a:lumOff val="40000"/>
            </a:schemeClr>
          </a:solidFill>
        </p:spPr>
        <p:txBody>
          <a:bodyPr wrap="square" rtlCol="0">
            <a:noAutofit/>
          </a:bodyPr>
          <a:lstStyle/>
          <a:p>
            <a:pPr lvl="0" algn="ctr">
              <a:defRPr/>
            </a:pPr>
            <a:r>
              <a:rPr lang="en-GB" sz="1400" kern="0" dirty="0">
                <a:latin typeface="Gill Sans MT" panose="020B0502020104020203" pitchFamily="34" charset="0"/>
              </a:rPr>
              <a:t>Defaulters Trend By Year</a:t>
            </a:r>
            <a:endParaRPr kumimoji="0" lang="en-US" sz="1400" b="0" i="0" u="none" strike="noStrike" kern="0" cap="none" spc="0" normalizeH="0" baseline="0" noProof="0" dirty="0">
              <a:ln>
                <a:noFill/>
              </a:ln>
              <a:effectLst/>
              <a:uLnTx/>
              <a:uFillTx/>
              <a:latin typeface="Gill Sans MT" panose="020B0502020104020203" pitchFamily="34" charset="0"/>
            </a:endParaRPr>
          </a:p>
        </p:txBody>
      </p:sp>
      <p:sp>
        <p:nvSpPr>
          <p:cNvPr id="5" name="TextBox 4">
            <a:extLst>
              <a:ext uri="{FF2B5EF4-FFF2-40B4-BE49-F238E27FC236}">
                <a16:creationId xmlns:a16="http://schemas.microsoft.com/office/drawing/2014/main" id="{6729CC72-25C9-3D06-DFDE-00BC1EC4EBBB}"/>
              </a:ext>
            </a:extLst>
          </p:cNvPr>
          <p:cNvSpPr txBox="1"/>
          <p:nvPr/>
        </p:nvSpPr>
        <p:spPr>
          <a:xfrm>
            <a:off x="1337443" y="5182477"/>
            <a:ext cx="3014122" cy="780863"/>
          </a:xfrm>
          <a:prstGeom prst="rect">
            <a:avLst/>
          </a:prstGeom>
          <a:solidFill>
            <a:schemeClr val="accent5">
              <a:lumMod val="60000"/>
              <a:lumOff val="40000"/>
            </a:schemeClr>
          </a:solidFill>
        </p:spPr>
        <p:txBody>
          <a:bodyPr wrap="square" rtlCol="0">
            <a:noAutofit/>
          </a:bodyPr>
          <a:lstStyle>
            <a:defPPr>
              <a:defRPr lang="en-US"/>
            </a:defPPr>
            <a:lvl1pPr lvl="0" algn="ctr">
              <a:defRPr sz="1400" kern="0">
                <a:solidFill>
                  <a:schemeClr val="bg1"/>
                </a:solidFill>
                <a:latin typeface="Gill Sans MT" panose="020B0502020104020203" pitchFamily="34" charset="0"/>
              </a:defRPr>
            </a:lvl1pPr>
          </a:lstStyle>
          <a:p>
            <a:r>
              <a:rPr lang="en-GB" sz="1100" dirty="0">
                <a:solidFill>
                  <a:schemeClr val="tx1"/>
                </a:solidFill>
              </a:rPr>
              <a:t>The number of defaulters has been steadily increasing from year to year.</a:t>
            </a:r>
            <a:endParaRPr lang="en-US" sz="1100" dirty="0">
              <a:solidFill>
                <a:schemeClr val="tx1"/>
              </a:solidFill>
            </a:endParaRPr>
          </a:p>
        </p:txBody>
      </p:sp>
      <p:sp>
        <p:nvSpPr>
          <p:cNvPr id="6" name="TextBox 5">
            <a:extLst>
              <a:ext uri="{FF2B5EF4-FFF2-40B4-BE49-F238E27FC236}">
                <a16:creationId xmlns:a16="http://schemas.microsoft.com/office/drawing/2014/main" id="{D480B2B1-38D8-C6DC-51CF-C3CB01DEEEAB}"/>
              </a:ext>
            </a:extLst>
          </p:cNvPr>
          <p:cNvSpPr txBox="1"/>
          <p:nvPr/>
        </p:nvSpPr>
        <p:spPr>
          <a:xfrm>
            <a:off x="7325973" y="5240657"/>
            <a:ext cx="3209754" cy="780863"/>
          </a:xfrm>
          <a:prstGeom prst="rect">
            <a:avLst/>
          </a:prstGeom>
          <a:solidFill>
            <a:schemeClr val="accent5">
              <a:lumMod val="60000"/>
              <a:lumOff val="40000"/>
            </a:schemeClr>
          </a:solidFill>
        </p:spPr>
        <p:txBody>
          <a:bodyPr wrap="square" rtlCol="0">
            <a:noAutofit/>
          </a:bodyPr>
          <a:lstStyle/>
          <a:p>
            <a:pPr lvl="0">
              <a:defRPr/>
            </a:pPr>
            <a:r>
              <a:rPr lang="en-GB" sz="1100" kern="0" dirty="0">
                <a:solidFill>
                  <a:sysClr val="windowText" lastClr="000000"/>
                </a:solidFill>
                <a:latin typeface="Gill Sans MT" panose="020B0502020104020203" pitchFamily="34" charset="0"/>
              </a:rPr>
              <a:t>Individuals earning more than 30,000 are more inclined to default on their loans compared to those earning less than 30,000</a:t>
            </a:r>
            <a:endParaRPr kumimoji="0" lang="en-US" sz="1100" i="0" u="none" strike="noStrike" kern="0" cap="none" spc="0" normalizeH="0" baseline="0" noProof="0" dirty="0">
              <a:ln>
                <a:noFill/>
              </a:ln>
              <a:solidFill>
                <a:sysClr val="windowText" lastClr="000000"/>
              </a:solidFill>
              <a:effectLst/>
              <a:uLnTx/>
              <a:uFillTx/>
              <a:latin typeface="Gill Sans MT" panose="020B0502020104020203" pitchFamily="34" charset="0"/>
            </a:endParaRPr>
          </a:p>
        </p:txBody>
      </p:sp>
      <p:sp>
        <p:nvSpPr>
          <p:cNvPr id="7" name="TextBox 6">
            <a:extLst>
              <a:ext uri="{FF2B5EF4-FFF2-40B4-BE49-F238E27FC236}">
                <a16:creationId xmlns:a16="http://schemas.microsoft.com/office/drawing/2014/main" id="{A9D6B850-A313-5A78-4FD2-C518D6ED79AB}"/>
              </a:ext>
            </a:extLst>
          </p:cNvPr>
          <p:cNvSpPr txBox="1"/>
          <p:nvPr/>
        </p:nvSpPr>
        <p:spPr>
          <a:xfrm>
            <a:off x="7325973" y="1422616"/>
            <a:ext cx="2985372" cy="302877"/>
          </a:xfrm>
          <a:prstGeom prst="rect">
            <a:avLst/>
          </a:prstGeom>
          <a:solidFill>
            <a:schemeClr val="accent5">
              <a:lumMod val="60000"/>
              <a:lumOff val="40000"/>
            </a:schemeClr>
          </a:solidFill>
        </p:spPr>
        <p:txBody>
          <a:bodyPr wrap="square" rtlCol="0">
            <a:noAutofit/>
          </a:bodyPr>
          <a:lstStyle>
            <a:defPPr>
              <a:defRPr lang="en-US"/>
            </a:defPPr>
            <a:lvl1pPr lvl="0" algn="ctr">
              <a:defRPr sz="1400" kern="0">
                <a:solidFill>
                  <a:schemeClr val="bg1"/>
                </a:solidFill>
                <a:latin typeface="Gill Sans MT" panose="020B0502020104020203" pitchFamily="34" charset="0"/>
              </a:defRPr>
            </a:lvl1pPr>
          </a:lstStyle>
          <a:p>
            <a:r>
              <a:rPr lang="en-GB" sz="1400" kern="0" dirty="0">
                <a:solidFill>
                  <a:schemeClr val="tx1"/>
                </a:solidFill>
                <a:latin typeface="Gill Sans MT" panose="020B0502020104020203" pitchFamily="34" charset="0"/>
              </a:rPr>
              <a:t>Defaulters by Income Group</a:t>
            </a:r>
            <a:endParaRPr kumimoji="0" lang="en-US" sz="1400" b="0" i="0" u="none" strike="noStrike" kern="0" cap="none" spc="0" normalizeH="0" baseline="0" noProof="0" dirty="0">
              <a:ln>
                <a:noFill/>
              </a:ln>
              <a:solidFill>
                <a:schemeClr val="tx1"/>
              </a:solidFill>
              <a:effectLst/>
              <a:uLnTx/>
              <a:uFillTx/>
              <a:latin typeface="Gill Sans MT" panose="020B0502020104020203" pitchFamily="34" charset="0"/>
            </a:endParaRPr>
          </a:p>
          <a:p>
            <a:endParaRPr lang="en-US" dirty="0">
              <a:solidFill>
                <a:schemeClr val="tx1"/>
              </a:solidFill>
            </a:endParaRPr>
          </a:p>
        </p:txBody>
      </p:sp>
    </p:spTree>
    <p:extLst>
      <p:ext uri="{BB962C8B-B14F-4D97-AF65-F5344CB8AC3E}">
        <p14:creationId xmlns:p14="http://schemas.microsoft.com/office/powerpoint/2010/main" val="54756342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CEA71EB-569F-999B-0314-072109212683}"/>
              </a:ext>
            </a:extLst>
          </p:cNvPr>
          <p:cNvGraphicFramePr>
            <a:graphicFrameLocks noChangeAspect="1"/>
          </p:cNvGraphicFramePr>
          <p:nvPr>
            <p:custDataLst>
              <p:tags r:id="rId1"/>
            </p:custDataLst>
            <p:extLst>
              <p:ext uri="{D42A27DB-BD31-4B8C-83A1-F6EECF244321}">
                <p14:modId xmlns:p14="http://schemas.microsoft.com/office/powerpoint/2010/main" val="2821829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FCEA71EB-569F-999B-0314-07210921268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194" name="Picture 2">
            <a:extLst>
              <a:ext uri="{FF2B5EF4-FFF2-40B4-BE49-F238E27FC236}">
                <a16:creationId xmlns:a16="http://schemas.microsoft.com/office/drawing/2014/main" id="{D9A45A69-C4DA-329F-5F00-62EAAF07272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64603" y="1256925"/>
            <a:ext cx="8095676" cy="495653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9EE5F5C4-5255-A4DD-DD9C-10CA70D8373B}"/>
              </a:ext>
            </a:extLst>
          </p:cNvPr>
          <p:cNvSpPr>
            <a:spLocks noGrp="1"/>
          </p:cNvSpPr>
          <p:nvPr>
            <p:ph type="title"/>
          </p:nvPr>
        </p:nvSpPr>
        <p:spPr>
          <a:xfrm>
            <a:off x="58511" y="137675"/>
            <a:ext cx="8037090" cy="692287"/>
          </a:xfrm>
        </p:spPr>
        <p:txBody>
          <a:bodyPr vert="horz">
            <a:normAutofit fontScale="90000"/>
          </a:bodyPr>
          <a:lstStyle/>
          <a:p>
            <a:r>
              <a:rPr lang="en-IN" dirty="0">
                <a:latin typeface="Gill Sans MT" panose="020B0502020104020203" pitchFamily="34" charset="0"/>
              </a:rPr>
              <a:t>Exploratory Analysis – Key Findings</a:t>
            </a:r>
            <a:endParaRPr lang="en-US" dirty="0"/>
          </a:p>
        </p:txBody>
      </p:sp>
      <p:sp>
        <p:nvSpPr>
          <p:cNvPr id="5" name="TextBox 4">
            <a:extLst>
              <a:ext uri="{FF2B5EF4-FFF2-40B4-BE49-F238E27FC236}">
                <a16:creationId xmlns:a16="http://schemas.microsoft.com/office/drawing/2014/main" id="{31268A8D-235F-21A9-649C-40F83828598D}"/>
              </a:ext>
            </a:extLst>
          </p:cNvPr>
          <p:cNvSpPr txBox="1"/>
          <p:nvPr/>
        </p:nvSpPr>
        <p:spPr>
          <a:xfrm>
            <a:off x="9250135" y="1356920"/>
            <a:ext cx="2551055" cy="2659908"/>
          </a:xfrm>
          <a:prstGeom prst="rect">
            <a:avLst/>
          </a:prstGeom>
          <a:solidFill>
            <a:schemeClr val="accent5">
              <a:lumMod val="60000"/>
              <a:lumOff val="40000"/>
            </a:schemeClr>
          </a:solidFill>
        </p:spPr>
        <p:txBody>
          <a:bodyPr wrap="square" rtlCol="0">
            <a:noAutofit/>
          </a:bodyPr>
          <a:lstStyle/>
          <a:p>
            <a:pPr marL="228600" lvl="0" indent="-228600">
              <a:buAutoNum type="arabicPeriod"/>
              <a:defRPr/>
            </a:pPr>
            <a:r>
              <a:rPr lang="en-GB" sz="1100" kern="0" dirty="0" err="1">
                <a:solidFill>
                  <a:sysClr val="windowText" lastClr="000000"/>
                </a:solidFill>
                <a:latin typeface="Gill Sans MT" panose="020B0502020104020203" pitchFamily="34" charset="0"/>
              </a:rPr>
              <a:t>loan_amnt</a:t>
            </a:r>
            <a:r>
              <a:rPr lang="en-GB" sz="1100" kern="0" dirty="0">
                <a:solidFill>
                  <a:sysClr val="windowText" lastClr="000000"/>
                </a:solidFill>
                <a:latin typeface="Gill Sans MT" panose="020B0502020104020203" pitchFamily="34" charset="0"/>
              </a:rPr>
              <a:t>, </a:t>
            </a:r>
            <a:r>
              <a:rPr lang="en-GB" sz="1100" kern="0" dirty="0" err="1">
                <a:solidFill>
                  <a:sysClr val="windowText" lastClr="000000"/>
                </a:solidFill>
                <a:latin typeface="Gill Sans MT" panose="020B0502020104020203" pitchFamily="34" charset="0"/>
              </a:rPr>
              <a:t>funded_amnt</a:t>
            </a:r>
            <a:r>
              <a:rPr lang="en-GB" sz="1100" kern="0" dirty="0">
                <a:solidFill>
                  <a:sysClr val="windowText" lastClr="000000"/>
                </a:solidFill>
                <a:latin typeface="Gill Sans MT" panose="020B0502020104020203" pitchFamily="34" charset="0"/>
              </a:rPr>
              <a:t>, </a:t>
            </a:r>
            <a:r>
              <a:rPr lang="en-GB" sz="1100" kern="0" dirty="0" err="1">
                <a:solidFill>
                  <a:sysClr val="windowText" lastClr="000000"/>
                </a:solidFill>
                <a:latin typeface="Gill Sans MT" panose="020B0502020104020203" pitchFamily="34" charset="0"/>
              </a:rPr>
              <a:t>funded_amnt_inv</a:t>
            </a:r>
            <a:r>
              <a:rPr lang="en-GB" sz="1100" kern="0" dirty="0">
                <a:solidFill>
                  <a:sysClr val="windowText" lastClr="000000"/>
                </a:solidFill>
                <a:latin typeface="Gill Sans MT" panose="020B0502020104020203" pitchFamily="34" charset="0"/>
              </a:rPr>
              <a:t>&amp; </a:t>
            </a:r>
            <a:r>
              <a:rPr lang="en-GB" sz="1100" kern="0" dirty="0" err="1">
                <a:solidFill>
                  <a:sysClr val="windowText" lastClr="000000"/>
                </a:solidFill>
                <a:latin typeface="Gill Sans MT" panose="020B0502020104020203" pitchFamily="34" charset="0"/>
              </a:rPr>
              <a:t>installment</a:t>
            </a:r>
            <a:r>
              <a:rPr lang="en-GB" sz="1100" kern="0" dirty="0">
                <a:solidFill>
                  <a:sysClr val="windowText" lastClr="000000"/>
                </a:solidFill>
                <a:latin typeface="Gill Sans MT" panose="020B0502020104020203" pitchFamily="34" charset="0"/>
              </a:rPr>
              <a:t> columns are highly </a:t>
            </a:r>
            <a:r>
              <a:rPr lang="en-GB" sz="1100" kern="0" dirty="0" err="1">
                <a:solidFill>
                  <a:sysClr val="windowText" lastClr="000000"/>
                </a:solidFill>
                <a:latin typeface="Gill Sans MT" panose="020B0502020104020203" pitchFamily="34" charset="0"/>
              </a:rPr>
              <a:t>correalted</a:t>
            </a:r>
            <a:endParaRPr lang="en-GB" sz="1100" kern="0" dirty="0">
              <a:solidFill>
                <a:sysClr val="windowText" lastClr="000000"/>
              </a:solidFill>
              <a:latin typeface="Gill Sans MT" panose="020B0502020104020203" pitchFamily="34" charset="0"/>
            </a:endParaRPr>
          </a:p>
          <a:p>
            <a:pPr lvl="0">
              <a:defRPr/>
            </a:pPr>
            <a:endParaRPr lang="en-GB" sz="1100" kern="0" dirty="0">
              <a:solidFill>
                <a:sysClr val="windowText" lastClr="000000"/>
              </a:solidFill>
              <a:latin typeface="Gill Sans MT" panose="020B0502020104020203" pitchFamily="34" charset="0"/>
            </a:endParaRPr>
          </a:p>
          <a:p>
            <a:pPr lvl="0">
              <a:defRPr/>
            </a:pPr>
            <a:r>
              <a:rPr lang="en-GB" sz="1100" kern="0" dirty="0">
                <a:solidFill>
                  <a:sysClr val="windowText" lastClr="000000"/>
                </a:solidFill>
                <a:latin typeface="Gill Sans MT" panose="020B0502020104020203" pitchFamily="34" charset="0"/>
              </a:rPr>
              <a:t>2. </a:t>
            </a:r>
            <a:r>
              <a:rPr lang="en-GB" sz="1100" kern="0" dirty="0" err="1">
                <a:solidFill>
                  <a:sysClr val="windowText" lastClr="000000"/>
                </a:solidFill>
                <a:latin typeface="Gill Sans MT" panose="020B0502020104020203" pitchFamily="34" charset="0"/>
              </a:rPr>
              <a:t>total_pymmnt</a:t>
            </a:r>
            <a:r>
              <a:rPr lang="en-GB" sz="1100" kern="0" dirty="0">
                <a:solidFill>
                  <a:sysClr val="windowText" lastClr="000000"/>
                </a:solidFill>
                <a:latin typeface="Gill Sans MT" panose="020B0502020104020203" pitchFamily="34" charset="0"/>
              </a:rPr>
              <a:t>, </a:t>
            </a:r>
            <a:r>
              <a:rPr lang="en-GB" sz="1100" kern="0" dirty="0" err="1">
                <a:solidFill>
                  <a:sysClr val="windowText" lastClr="000000"/>
                </a:solidFill>
                <a:latin typeface="Gill Sans MT" panose="020B0502020104020203" pitchFamily="34" charset="0"/>
              </a:rPr>
              <a:t>total_payment_inv,total_rec_prncp,total_rec_int</a:t>
            </a:r>
            <a:r>
              <a:rPr lang="en-GB" sz="1100" kern="0" dirty="0">
                <a:solidFill>
                  <a:sysClr val="windowText" lastClr="000000"/>
                </a:solidFill>
                <a:latin typeface="Gill Sans MT" panose="020B0502020104020203" pitchFamily="34" charset="0"/>
              </a:rPr>
              <a:t> are </a:t>
            </a:r>
            <a:r>
              <a:rPr lang="en-GB" sz="1100" kern="0" dirty="0" err="1">
                <a:solidFill>
                  <a:sysClr val="windowText" lastClr="000000"/>
                </a:solidFill>
                <a:latin typeface="Gill Sans MT" panose="020B0502020104020203" pitchFamily="34" charset="0"/>
              </a:rPr>
              <a:t>moderatly</a:t>
            </a:r>
            <a:r>
              <a:rPr lang="en-GB" sz="1100" kern="0" dirty="0">
                <a:solidFill>
                  <a:sysClr val="windowText" lastClr="000000"/>
                </a:solidFill>
                <a:latin typeface="Gill Sans MT" panose="020B0502020104020203" pitchFamily="34" charset="0"/>
              </a:rPr>
              <a:t> correlated to point 1 columns</a:t>
            </a:r>
          </a:p>
          <a:p>
            <a:pPr lvl="0">
              <a:defRPr/>
            </a:pPr>
            <a:endParaRPr lang="en-GB" sz="1100" kern="0" dirty="0">
              <a:solidFill>
                <a:sysClr val="windowText" lastClr="000000"/>
              </a:solidFill>
              <a:latin typeface="Gill Sans MT" panose="020B0502020104020203" pitchFamily="34" charset="0"/>
            </a:endParaRPr>
          </a:p>
          <a:p>
            <a:pPr lvl="0">
              <a:defRPr/>
            </a:pPr>
            <a:r>
              <a:rPr lang="en-GB" sz="1100" kern="0" dirty="0">
                <a:solidFill>
                  <a:sysClr val="windowText" lastClr="000000"/>
                </a:solidFill>
                <a:latin typeface="Gill Sans MT" panose="020B0502020104020203" pitchFamily="34" charset="0"/>
              </a:rPr>
              <a:t>3. for the further analysis we could reduce the features which are highly correlated</a:t>
            </a:r>
            <a:endParaRPr kumimoji="0" lang="en-US" sz="1100" i="0" u="none" strike="noStrike" kern="0" cap="none" spc="0" normalizeH="0" baseline="0" noProof="0" dirty="0">
              <a:ln>
                <a:noFill/>
              </a:ln>
              <a:solidFill>
                <a:sysClr val="windowText" lastClr="000000"/>
              </a:solidFill>
              <a:effectLst/>
              <a:uLnTx/>
              <a:uFillTx/>
              <a:latin typeface="Gill Sans MT" panose="020B0502020104020203" pitchFamily="34" charset="0"/>
            </a:endParaRPr>
          </a:p>
        </p:txBody>
      </p:sp>
    </p:spTree>
    <p:extLst>
      <p:ext uri="{BB962C8B-B14F-4D97-AF65-F5344CB8AC3E}">
        <p14:creationId xmlns:p14="http://schemas.microsoft.com/office/powerpoint/2010/main" val="155416657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AE4E505-998B-8631-A565-B6272DB6D9A2}"/>
              </a:ext>
            </a:extLst>
          </p:cNvPr>
          <p:cNvGraphicFramePr>
            <a:graphicFrameLocks noChangeAspect="1"/>
          </p:cNvGraphicFramePr>
          <p:nvPr>
            <p:custDataLst>
              <p:tags r:id="rId1"/>
            </p:custDataLst>
            <p:extLst>
              <p:ext uri="{D42A27DB-BD31-4B8C-83A1-F6EECF244321}">
                <p14:modId xmlns:p14="http://schemas.microsoft.com/office/powerpoint/2010/main" val="26052478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9AE4E505-998B-8631-A565-B6272DB6D9A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16BC06D3-422A-4169-83A6-35CE4D60B356}"/>
              </a:ext>
            </a:extLst>
          </p:cNvPr>
          <p:cNvPicPr>
            <a:picLocks noChangeAspect="1"/>
          </p:cNvPicPr>
          <p:nvPr/>
        </p:nvPicPr>
        <p:blipFill rotWithShape="1">
          <a:blip r:embed="rId5"/>
          <a:srcRect b="44597"/>
          <a:stretch/>
        </p:blipFill>
        <p:spPr>
          <a:xfrm>
            <a:off x="7960804" y="1047077"/>
            <a:ext cx="2773449" cy="1783735"/>
          </a:xfrm>
          <a:prstGeom prst="rect">
            <a:avLst/>
          </a:prstGeom>
        </p:spPr>
      </p:pic>
      <p:sp>
        <p:nvSpPr>
          <p:cNvPr id="3" name="Title 2">
            <a:extLst>
              <a:ext uri="{FF2B5EF4-FFF2-40B4-BE49-F238E27FC236}">
                <a16:creationId xmlns:a16="http://schemas.microsoft.com/office/drawing/2014/main" id="{9EDB9C0C-96CF-38B0-2F94-AF3CAEE60141}"/>
              </a:ext>
            </a:extLst>
          </p:cNvPr>
          <p:cNvSpPr>
            <a:spLocks noGrp="1"/>
          </p:cNvSpPr>
          <p:nvPr>
            <p:ph type="title"/>
          </p:nvPr>
        </p:nvSpPr>
        <p:spPr/>
        <p:txBody>
          <a:bodyPr/>
          <a:lstStyle/>
          <a:p>
            <a:endParaRPr lang="en-IN"/>
          </a:p>
        </p:txBody>
      </p:sp>
    </p:spTree>
    <p:extLst>
      <p:ext uri="{BB962C8B-B14F-4D97-AF65-F5344CB8AC3E}">
        <p14:creationId xmlns:p14="http://schemas.microsoft.com/office/powerpoint/2010/main" val="313167699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3F5236-F6E7-491F-8E03-67E4B346F80E}"/>
              </a:ext>
            </a:extLst>
          </p:cNvPr>
          <p:cNvSpPr>
            <a:spLocks noGrp="1"/>
          </p:cNvSpPr>
          <p:nvPr>
            <p:ph type="title"/>
          </p:nvPr>
        </p:nvSpPr>
        <p:spPr>
          <a:xfrm>
            <a:off x="429827" y="100351"/>
            <a:ext cx="2881544" cy="652001"/>
          </a:xfrm>
        </p:spPr>
        <p:txBody>
          <a:bodyPr vert="horz" lIns="91440" tIns="45720" rIns="91440" bIns="45720" rtlCol="0" anchor="ctr">
            <a:normAutofit fontScale="90000"/>
          </a:bodyPr>
          <a:lstStyle/>
          <a:p>
            <a:r>
              <a:rPr lang="en-IN" dirty="0">
                <a:latin typeface="Gill Sans MT" panose="020B0502020104020203" pitchFamily="34" charset="0"/>
              </a:rPr>
              <a:t>Conclusion</a:t>
            </a:r>
          </a:p>
        </p:txBody>
      </p:sp>
      <p:pic>
        <p:nvPicPr>
          <p:cNvPr id="5" name="Picture 4">
            <a:extLst>
              <a:ext uri="{FF2B5EF4-FFF2-40B4-BE49-F238E27FC236}">
                <a16:creationId xmlns:a16="http://schemas.microsoft.com/office/drawing/2014/main" id="{888574BE-7077-4BC0-AB43-A4892A860A9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37239" y="1246724"/>
            <a:ext cx="6577781" cy="4364551"/>
          </a:xfrm>
          <a:prstGeom prst="rect">
            <a:avLst/>
          </a:prstGeom>
          <a:effectLst>
            <a:softEdge rad="317500"/>
          </a:effectLst>
        </p:spPr>
      </p:pic>
    </p:spTree>
    <p:extLst>
      <p:ext uri="{BB962C8B-B14F-4D97-AF65-F5344CB8AC3E}">
        <p14:creationId xmlns:p14="http://schemas.microsoft.com/office/powerpoint/2010/main" val="41021061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2000" b="-2000"/>
          </a:stretch>
        </a:blip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52B80E3-A47F-4F16-A134-5A9787F30B9E}"/>
              </a:ext>
            </a:extLst>
          </p:cNvPr>
          <p:cNvSpPr txBox="1"/>
          <p:nvPr/>
        </p:nvSpPr>
        <p:spPr>
          <a:xfrm rot="21210853">
            <a:off x="3057832" y="2501293"/>
            <a:ext cx="3156155" cy="1938992"/>
          </a:xfrm>
          <a:prstGeom prst="rect">
            <a:avLst/>
          </a:prstGeom>
          <a:noFill/>
        </p:spPr>
        <p:txBody>
          <a:bodyPr wrap="square" rtlCol="0">
            <a:spAutoFit/>
          </a:bodyPr>
          <a:lstStyle/>
          <a:p>
            <a:pPr algn="ctr"/>
            <a:r>
              <a:rPr lang="en-IN" sz="6000" dirty="0">
                <a:latin typeface="Gill Sans MT" panose="020B0502020104020203" pitchFamily="34" charset="0"/>
              </a:rPr>
              <a:t>Thank </a:t>
            </a:r>
          </a:p>
          <a:p>
            <a:pPr algn="ctr"/>
            <a:r>
              <a:rPr lang="en-IN" sz="6000" dirty="0">
                <a:latin typeface="Gill Sans MT" panose="020B0502020104020203" pitchFamily="34" charset="0"/>
              </a:rPr>
              <a:t>You</a:t>
            </a:r>
          </a:p>
        </p:txBody>
      </p:sp>
    </p:spTree>
    <p:extLst>
      <p:ext uri="{BB962C8B-B14F-4D97-AF65-F5344CB8AC3E}">
        <p14:creationId xmlns:p14="http://schemas.microsoft.com/office/powerpoint/2010/main" val="225293530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a:extLst>
              <a:ext uri="{FF2B5EF4-FFF2-40B4-BE49-F238E27FC236}">
                <a16:creationId xmlns:a16="http://schemas.microsoft.com/office/drawing/2014/main" id="{9CB74668-1FC9-45F8-8697-6ACC879B88A6}"/>
              </a:ext>
            </a:extLst>
          </p:cNvPr>
          <p:cNvGraphicFramePr/>
          <p:nvPr>
            <p:extLst>
              <p:ext uri="{D42A27DB-BD31-4B8C-83A1-F6EECF244321}">
                <p14:modId xmlns:p14="http://schemas.microsoft.com/office/powerpoint/2010/main" val="2720084459"/>
              </p:ext>
            </p:extLst>
          </p:nvPr>
        </p:nvGraphicFramePr>
        <p:xfrm>
          <a:off x="4588275" y="864085"/>
          <a:ext cx="6844684" cy="551611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0" name="Title 1">
            <a:extLst>
              <a:ext uri="{FF2B5EF4-FFF2-40B4-BE49-F238E27FC236}">
                <a16:creationId xmlns:a16="http://schemas.microsoft.com/office/drawing/2014/main" id="{9CD7AF2F-C50D-4E74-875E-1943BFA5107D}"/>
              </a:ext>
            </a:extLst>
          </p:cNvPr>
          <p:cNvSpPr>
            <a:spLocks noGrp="1"/>
          </p:cNvSpPr>
          <p:nvPr>
            <p:ph type="title"/>
          </p:nvPr>
        </p:nvSpPr>
        <p:spPr>
          <a:xfrm>
            <a:off x="124287" y="61138"/>
            <a:ext cx="7886330" cy="706090"/>
          </a:xfrm>
        </p:spPr>
        <p:txBody>
          <a:bodyPr>
            <a:normAutofit/>
          </a:bodyPr>
          <a:lstStyle/>
          <a:p>
            <a:r>
              <a:rPr lang="en-IN" sz="4000" dirty="0">
                <a:latin typeface="Gill Sans MT" panose="020B0502020104020203" pitchFamily="34" charset="0"/>
              </a:rPr>
              <a:t>Presentation Outline</a:t>
            </a:r>
          </a:p>
        </p:txBody>
      </p:sp>
      <p:pic>
        <p:nvPicPr>
          <p:cNvPr id="12" name="Picture 11">
            <a:extLst>
              <a:ext uri="{FF2B5EF4-FFF2-40B4-BE49-F238E27FC236}">
                <a16:creationId xmlns:a16="http://schemas.microsoft.com/office/drawing/2014/main" id="{607B866F-FD28-4E69-8A23-FB8AB24B5845}"/>
              </a:ext>
            </a:extLst>
          </p:cNvPr>
          <p:cNvPicPr>
            <a:picLocks noChangeAspect="1"/>
          </p:cNvPicPr>
          <p:nvPr/>
        </p:nvPicPr>
        <p:blipFill rotWithShape="1">
          <a:blip r:embed="rId7">
            <a:extLst>
              <a:ext uri="{28A0092B-C50C-407E-A947-70E740481C1C}">
                <a14:useLocalDpi xmlns:a14="http://schemas.microsoft.com/office/drawing/2010/main" val="0"/>
              </a:ext>
            </a:extLst>
          </a:blip>
          <a:srcRect l="8781" t="5013" r="7520"/>
          <a:stretch/>
        </p:blipFill>
        <p:spPr>
          <a:xfrm>
            <a:off x="234570" y="1596627"/>
            <a:ext cx="3942372" cy="4279037"/>
          </a:xfrm>
          <a:prstGeom prst="rect">
            <a:avLst/>
          </a:prstGeom>
        </p:spPr>
      </p:pic>
    </p:spTree>
    <p:extLst>
      <p:ext uri="{BB962C8B-B14F-4D97-AF65-F5344CB8AC3E}">
        <p14:creationId xmlns:p14="http://schemas.microsoft.com/office/powerpoint/2010/main" val="703186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4170218" y="0"/>
            <a:ext cx="8021782"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45720" rIns="720000" bIns="45720" numCol="1" spcCol="0" rtlCol="0" fromWordArt="0" anchor="ctr" anchorCtr="0" forceAA="0" compatLnSpc="1">
            <a:prstTxWarp prst="textNoShape">
              <a:avLst/>
            </a:prstTxWarp>
            <a:noAutofit/>
          </a:bodyPr>
          <a:lstStyle/>
          <a:p>
            <a:pPr lvl="0">
              <a:defRPr/>
            </a:pPr>
            <a:endParaRPr lang="en-IN" sz="1600" dirty="0">
              <a:solidFill>
                <a:schemeClr val="bg1"/>
              </a:solidFill>
              <a:latin typeface="Gill Sans MT" panose="020B0502020104020203" pitchFamily="34" charset="0"/>
            </a:endParaRPr>
          </a:p>
        </p:txBody>
      </p:sp>
      <p:sp>
        <p:nvSpPr>
          <p:cNvPr id="4" name="Oval 3"/>
          <p:cNvSpPr>
            <a:spLocks noChangeAspect="1"/>
          </p:cNvSpPr>
          <p:nvPr/>
        </p:nvSpPr>
        <p:spPr>
          <a:xfrm>
            <a:off x="3687572" y="2166627"/>
            <a:ext cx="965292" cy="965292"/>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Oval 4"/>
          <p:cNvSpPr>
            <a:spLocks noChangeAspect="1"/>
          </p:cNvSpPr>
          <p:nvPr/>
        </p:nvSpPr>
        <p:spPr>
          <a:xfrm>
            <a:off x="3687572" y="3726081"/>
            <a:ext cx="965292" cy="965292"/>
          </a:xfrm>
          <a:prstGeom prst="ellipse">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 name="Oval 5"/>
          <p:cNvSpPr>
            <a:spLocks noChangeAspect="1"/>
          </p:cNvSpPr>
          <p:nvPr/>
        </p:nvSpPr>
        <p:spPr>
          <a:xfrm>
            <a:off x="3687572" y="5285535"/>
            <a:ext cx="965292" cy="965292"/>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 name="Oval 7"/>
          <p:cNvSpPr>
            <a:spLocks noChangeAspect="1"/>
          </p:cNvSpPr>
          <p:nvPr/>
        </p:nvSpPr>
        <p:spPr>
          <a:xfrm>
            <a:off x="3687572" y="607173"/>
            <a:ext cx="965292" cy="965292"/>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nvGrpSpPr>
          <p:cNvPr id="14" name="POWER_USER_ID_ICONS_Government"/>
          <p:cNvGrpSpPr>
            <a:grpSpLocks noChangeAspect="1"/>
          </p:cNvGrpSpPr>
          <p:nvPr>
            <p:custDataLst>
              <p:tags r:id="rId2"/>
            </p:custDataLst>
          </p:nvPr>
        </p:nvGrpSpPr>
        <p:grpSpPr bwMode="auto">
          <a:xfrm>
            <a:off x="3877324" y="797719"/>
            <a:ext cx="585788" cy="584200"/>
            <a:chOff x="35" y="39"/>
            <a:chExt cx="369" cy="368"/>
          </a:xfrm>
          <a:solidFill>
            <a:schemeClr val="bg1"/>
          </a:solidFill>
        </p:grpSpPr>
        <p:sp>
          <p:nvSpPr>
            <p:cNvPr id="15" name="POWER_USER_ID_ICONS_Government"/>
            <p:cNvSpPr>
              <a:spLocks noEditPoints="1"/>
            </p:cNvSpPr>
            <p:nvPr>
              <p:custDataLst>
                <p:tags r:id="rId19"/>
              </p:custDataLst>
            </p:nvPr>
          </p:nvSpPr>
          <p:spPr bwMode="auto">
            <a:xfrm>
              <a:off x="35" y="134"/>
              <a:ext cx="369" cy="273"/>
            </a:xfrm>
            <a:custGeom>
              <a:avLst/>
              <a:gdLst>
                <a:gd name="T0" fmla="*/ 207 w 218"/>
                <a:gd name="T1" fmla="*/ 117 h 161"/>
                <a:gd name="T2" fmla="*/ 189 w 218"/>
                <a:gd name="T3" fmla="*/ 117 h 161"/>
                <a:gd name="T4" fmla="*/ 189 w 218"/>
                <a:gd name="T5" fmla="*/ 22 h 161"/>
                <a:gd name="T6" fmla="*/ 207 w 218"/>
                <a:gd name="T7" fmla="*/ 22 h 161"/>
                <a:gd name="T8" fmla="*/ 207 w 218"/>
                <a:gd name="T9" fmla="*/ 0 h 161"/>
                <a:gd name="T10" fmla="*/ 13 w 218"/>
                <a:gd name="T11" fmla="*/ 0 h 161"/>
                <a:gd name="T12" fmla="*/ 13 w 218"/>
                <a:gd name="T13" fmla="*/ 22 h 161"/>
                <a:gd name="T14" fmla="*/ 27 w 218"/>
                <a:gd name="T15" fmla="*/ 22 h 161"/>
                <a:gd name="T16" fmla="*/ 27 w 218"/>
                <a:gd name="T17" fmla="*/ 117 h 161"/>
                <a:gd name="T18" fmla="*/ 13 w 218"/>
                <a:gd name="T19" fmla="*/ 117 h 161"/>
                <a:gd name="T20" fmla="*/ 13 w 218"/>
                <a:gd name="T21" fmla="*/ 139 h 161"/>
                <a:gd name="T22" fmla="*/ 0 w 218"/>
                <a:gd name="T23" fmla="*/ 139 h 161"/>
                <a:gd name="T24" fmla="*/ 0 w 218"/>
                <a:gd name="T25" fmla="*/ 161 h 161"/>
                <a:gd name="T26" fmla="*/ 218 w 218"/>
                <a:gd name="T27" fmla="*/ 161 h 161"/>
                <a:gd name="T28" fmla="*/ 218 w 218"/>
                <a:gd name="T29" fmla="*/ 139 h 161"/>
                <a:gd name="T30" fmla="*/ 207 w 218"/>
                <a:gd name="T31" fmla="*/ 139 h 161"/>
                <a:gd name="T32" fmla="*/ 207 w 218"/>
                <a:gd name="T33" fmla="*/ 117 h 161"/>
                <a:gd name="T34" fmla="*/ 97 w 218"/>
                <a:gd name="T35" fmla="*/ 117 h 161"/>
                <a:gd name="T36" fmla="*/ 97 w 218"/>
                <a:gd name="T37" fmla="*/ 22 h 161"/>
                <a:gd name="T38" fmla="*/ 120 w 218"/>
                <a:gd name="T39" fmla="*/ 22 h 161"/>
                <a:gd name="T40" fmla="*/ 120 w 218"/>
                <a:gd name="T41" fmla="*/ 117 h 161"/>
                <a:gd name="T42" fmla="*/ 97 w 218"/>
                <a:gd name="T43" fmla="*/ 117 h 161"/>
                <a:gd name="T44" fmla="*/ 167 w 218"/>
                <a:gd name="T45" fmla="*/ 117 h 161"/>
                <a:gd name="T46" fmla="*/ 143 w 218"/>
                <a:gd name="T47" fmla="*/ 117 h 161"/>
                <a:gd name="T48" fmla="*/ 143 w 218"/>
                <a:gd name="T49" fmla="*/ 22 h 161"/>
                <a:gd name="T50" fmla="*/ 167 w 218"/>
                <a:gd name="T51" fmla="*/ 22 h 161"/>
                <a:gd name="T52" fmla="*/ 167 w 218"/>
                <a:gd name="T53" fmla="*/ 117 h 161"/>
                <a:gd name="T54" fmla="*/ 49 w 218"/>
                <a:gd name="T55" fmla="*/ 22 h 161"/>
                <a:gd name="T56" fmla="*/ 73 w 218"/>
                <a:gd name="T57" fmla="*/ 22 h 161"/>
                <a:gd name="T58" fmla="*/ 73 w 218"/>
                <a:gd name="T59" fmla="*/ 117 h 161"/>
                <a:gd name="T60" fmla="*/ 49 w 218"/>
                <a:gd name="T61" fmla="*/ 117 h 161"/>
                <a:gd name="T62" fmla="*/ 49 w 218"/>
                <a:gd name="T63" fmla="*/ 22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8" h="161">
                  <a:moveTo>
                    <a:pt x="207" y="117"/>
                  </a:moveTo>
                  <a:lnTo>
                    <a:pt x="189" y="117"/>
                  </a:lnTo>
                  <a:lnTo>
                    <a:pt x="189" y="22"/>
                  </a:lnTo>
                  <a:lnTo>
                    <a:pt x="207" y="22"/>
                  </a:lnTo>
                  <a:lnTo>
                    <a:pt x="207" y="0"/>
                  </a:lnTo>
                  <a:lnTo>
                    <a:pt x="13" y="0"/>
                  </a:lnTo>
                  <a:lnTo>
                    <a:pt x="13" y="22"/>
                  </a:lnTo>
                  <a:lnTo>
                    <a:pt x="27" y="22"/>
                  </a:lnTo>
                  <a:lnTo>
                    <a:pt x="27" y="117"/>
                  </a:lnTo>
                  <a:lnTo>
                    <a:pt x="13" y="117"/>
                  </a:lnTo>
                  <a:lnTo>
                    <a:pt x="13" y="139"/>
                  </a:lnTo>
                  <a:lnTo>
                    <a:pt x="0" y="139"/>
                  </a:lnTo>
                  <a:lnTo>
                    <a:pt x="0" y="161"/>
                  </a:lnTo>
                  <a:lnTo>
                    <a:pt x="218" y="161"/>
                  </a:lnTo>
                  <a:lnTo>
                    <a:pt x="218" y="139"/>
                  </a:lnTo>
                  <a:lnTo>
                    <a:pt x="207" y="139"/>
                  </a:lnTo>
                  <a:lnTo>
                    <a:pt x="207" y="117"/>
                  </a:lnTo>
                  <a:close/>
                  <a:moveTo>
                    <a:pt x="97" y="117"/>
                  </a:moveTo>
                  <a:lnTo>
                    <a:pt x="97" y="22"/>
                  </a:lnTo>
                  <a:lnTo>
                    <a:pt x="120" y="22"/>
                  </a:lnTo>
                  <a:lnTo>
                    <a:pt x="120" y="117"/>
                  </a:lnTo>
                  <a:lnTo>
                    <a:pt x="97" y="117"/>
                  </a:lnTo>
                  <a:close/>
                  <a:moveTo>
                    <a:pt x="167" y="117"/>
                  </a:moveTo>
                  <a:lnTo>
                    <a:pt x="143" y="117"/>
                  </a:lnTo>
                  <a:lnTo>
                    <a:pt x="143" y="22"/>
                  </a:lnTo>
                  <a:lnTo>
                    <a:pt x="167" y="22"/>
                  </a:lnTo>
                  <a:lnTo>
                    <a:pt x="167" y="117"/>
                  </a:lnTo>
                  <a:close/>
                  <a:moveTo>
                    <a:pt x="49" y="22"/>
                  </a:moveTo>
                  <a:lnTo>
                    <a:pt x="73" y="22"/>
                  </a:lnTo>
                  <a:lnTo>
                    <a:pt x="73" y="117"/>
                  </a:lnTo>
                  <a:lnTo>
                    <a:pt x="49" y="117"/>
                  </a:lnTo>
                  <a:lnTo>
                    <a:pt x="49" y="2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6" name="POWER_USER_ID_ICONS_Government"/>
            <p:cNvSpPr>
              <a:spLocks/>
            </p:cNvSpPr>
            <p:nvPr>
              <p:custDataLst>
                <p:tags r:id="rId20"/>
              </p:custDataLst>
            </p:nvPr>
          </p:nvSpPr>
          <p:spPr bwMode="auto">
            <a:xfrm>
              <a:off x="35" y="39"/>
              <a:ext cx="369" cy="84"/>
            </a:xfrm>
            <a:custGeom>
              <a:avLst/>
              <a:gdLst>
                <a:gd name="T0" fmla="*/ 218 w 218"/>
                <a:gd name="T1" fmla="*/ 27 h 50"/>
                <a:gd name="T2" fmla="*/ 218 w 218"/>
                <a:gd name="T3" fmla="*/ 27 h 50"/>
                <a:gd name="T4" fmla="*/ 218 w 218"/>
                <a:gd name="T5" fmla="*/ 27 h 50"/>
                <a:gd name="T6" fmla="*/ 218 w 218"/>
                <a:gd name="T7" fmla="*/ 27 h 50"/>
                <a:gd name="T8" fmla="*/ 109 w 218"/>
                <a:gd name="T9" fmla="*/ 0 h 50"/>
                <a:gd name="T10" fmla="*/ 0 w 218"/>
                <a:gd name="T11" fmla="*/ 27 h 50"/>
                <a:gd name="T12" fmla="*/ 0 w 218"/>
                <a:gd name="T13" fmla="*/ 27 h 50"/>
                <a:gd name="T14" fmla="*/ 0 w 218"/>
                <a:gd name="T15" fmla="*/ 27 h 50"/>
                <a:gd name="T16" fmla="*/ 0 w 218"/>
                <a:gd name="T17" fmla="*/ 27 h 50"/>
                <a:gd name="T18" fmla="*/ 0 w 218"/>
                <a:gd name="T19" fmla="*/ 27 h 50"/>
                <a:gd name="T20" fmla="*/ 0 w 218"/>
                <a:gd name="T21" fmla="*/ 50 h 50"/>
                <a:gd name="T22" fmla="*/ 218 w 218"/>
                <a:gd name="T23" fmla="*/ 50 h 50"/>
                <a:gd name="T24" fmla="*/ 218 w 218"/>
                <a:gd name="T25" fmla="*/ 2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8" h="50">
                  <a:moveTo>
                    <a:pt x="218" y="27"/>
                  </a:moveTo>
                  <a:lnTo>
                    <a:pt x="218" y="27"/>
                  </a:lnTo>
                  <a:lnTo>
                    <a:pt x="218" y="27"/>
                  </a:lnTo>
                  <a:lnTo>
                    <a:pt x="218" y="27"/>
                  </a:lnTo>
                  <a:lnTo>
                    <a:pt x="109" y="0"/>
                  </a:lnTo>
                  <a:lnTo>
                    <a:pt x="0" y="27"/>
                  </a:lnTo>
                  <a:lnTo>
                    <a:pt x="0" y="27"/>
                  </a:lnTo>
                  <a:lnTo>
                    <a:pt x="0" y="27"/>
                  </a:lnTo>
                  <a:lnTo>
                    <a:pt x="0" y="27"/>
                  </a:lnTo>
                  <a:lnTo>
                    <a:pt x="0" y="27"/>
                  </a:lnTo>
                  <a:lnTo>
                    <a:pt x="0" y="50"/>
                  </a:lnTo>
                  <a:lnTo>
                    <a:pt x="218" y="50"/>
                  </a:lnTo>
                  <a:lnTo>
                    <a:pt x="218" y="2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nvGrpSpPr>
          <p:cNvPr id="17" name="POWER_USER_ID_ICONS_Main_Office"/>
          <p:cNvGrpSpPr>
            <a:grpSpLocks noChangeAspect="1"/>
          </p:cNvGrpSpPr>
          <p:nvPr>
            <p:custDataLst>
              <p:tags r:id="rId3"/>
            </p:custDataLst>
          </p:nvPr>
        </p:nvGrpSpPr>
        <p:grpSpPr bwMode="auto">
          <a:xfrm>
            <a:off x="3825275" y="2295456"/>
            <a:ext cx="724215" cy="624505"/>
            <a:chOff x="8" y="8"/>
            <a:chExt cx="552" cy="476"/>
          </a:xfrm>
          <a:solidFill>
            <a:schemeClr val="bg1"/>
          </a:solidFill>
        </p:grpSpPr>
        <p:sp>
          <p:nvSpPr>
            <p:cNvPr id="18" name="POWER_USER_ID_ICONS_Main_Office"/>
            <p:cNvSpPr>
              <a:spLocks noEditPoints="1"/>
            </p:cNvSpPr>
            <p:nvPr>
              <p:custDataLst>
                <p:tags r:id="rId16"/>
              </p:custDataLst>
            </p:nvPr>
          </p:nvSpPr>
          <p:spPr bwMode="auto">
            <a:xfrm>
              <a:off x="8" y="254"/>
              <a:ext cx="552" cy="230"/>
            </a:xfrm>
            <a:custGeom>
              <a:avLst/>
              <a:gdLst>
                <a:gd name="T0" fmla="*/ 1181 w 1250"/>
                <a:gd name="T1" fmla="*/ 0 h 520"/>
                <a:gd name="T2" fmla="*/ 69 w 1250"/>
                <a:gd name="T3" fmla="*/ 0 h 520"/>
                <a:gd name="T4" fmla="*/ 0 w 1250"/>
                <a:gd name="T5" fmla="*/ 0 h 520"/>
                <a:gd name="T6" fmla="*/ 0 w 1250"/>
                <a:gd name="T7" fmla="*/ 86 h 520"/>
                <a:gd name="T8" fmla="*/ 69 w 1250"/>
                <a:gd name="T9" fmla="*/ 86 h 520"/>
                <a:gd name="T10" fmla="*/ 69 w 1250"/>
                <a:gd name="T11" fmla="*/ 520 h 520"/>
                <a:gd name="T12" fmla="*/ 1181 w 1250"/>
                <a:gd name="T13" fmla="*/ 520 h 520"/>
                <a:gd name="T14" fmla="*/ 1181 w 1250"/>
                <a:gd name="T15" fmla="*/ 86 h 520"/>
                <a:gd name="T16" fmla="*/ 1250 w 1250"/>
                <a:gd name="T17" fmla="*/ 86 h 520"/>
                <a:gd name="T18" fmla="*/ 1250 w 1250"/>
                <a:gd name="T19" fmla="*/ 0 h 520"/>
                <a:gd name="T20" fmla="*/ 1181 w 1250"/>
                <a:gd name="T21" fmla="*/ 0 h 520"/>
                <a:gd name="T22" fmla="*/ 727 w 1250"/>
                <a:gd name="T23" fmla="*/ 418 h 520"/>
                <a:gd name="T24" fmla="*/ 625 w 1250"/>
                <a:gd name="T25" fmla="*/ 344 h 520"/>
                <a:gd name="T26" fmla="*/ 523 w 1250"/>
                <a:gd name="T27" fmla="*/ 418 h 520"/>
                <a:gd name="T28" fmla="*/ 562 w 1250"/>
                <a:gd name="T29" fmla="*/ 298 h 520"/>
                <a:gd name="T30" fmla="*/ 460 w 1250"/>
                <a:gd name="T31" fmla="*/ 224 h 520"/>
                <a:gd name="T32" fmla="*/ 586 w 1250"/>
                <a:gd name="T33" fmla="*/ 224 h 520"/>
                <a:gd name="T34" fmla="*/ 625 w 1250"/>
                <a:gd name="T35" fmla="*/ 104 h 520"/>
                <a:gd name="T36" fmla="*/ 664 w 1250"/>
                <a:gd name="T37" fmla="*/ 224 h 520"/>
                <a:gd name="T38" fmla="*/ 790 w 1250"/>
                <a:gd name="T39" fmla="*/ 224 h 520"/>
                <a:gd name="T40" fmla="*/ 688 w 1250"/>
                <a:gd name="T41" fmla="*/ 298 h 520"/>
                <a:gd name="T42" fmla="*/ 727 w 1250"/>
                <a:gd name="T43" fmla="*/ 418 h 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50" h="520">
                  <a:moveTo>
                    <a:pt x="1181" y="0"/>
                  </a:moveTo>
                  <a:lnTo>
                    <a:pt x="69" y="0"/>
                  </a:lnTo>
                  <a:lnTo>
                    <a:pt x="0" y="0"/>
                  </a:lnTo>
                  <a:lnTo>
                    <a:pt x="0" y="86"/>
                  </a:lnTo>
                  <a:lnTo>
                    <a:pt x="69" y="86"/>
                  </a:lnTo>
                  <a:lnTo>
                    <a:pt x="69" y="520"/>
                  </a:lnTo>
                  <a:lnTo>
                    <a:pt x="1181" y="520"/>
                  </a:lnTo>
                  <a:lnTo>
                    <a:pt x="1181" y="86"/>
                  </a:lnTo>
                  <a:lnTo>
                    <a:pt x="1250" y="86"/>
                  </a:lnTo>
                  <a:lnTo>
                    <a:pt x="1250" y="0"/>
                  </a:lnTo>
                  <a:lnTo>
                    <a:pt x="1181" y="0"/>
                  </a:lnTo>
                  <a:close/>
                  <a:moveTo>
                    <a:pt x="727" y="418"/>
                  </a:moveTo>
                  <a:lnTo>
                    <a:pt x="625" y="344"/>
                  </a:lnTo>
                  <a:lnTo>
                    <a:pt x="523" y="418"/>
                  </a:lnTo>
                  <a:lnTo>
                    <a:pt x="562" y="298"/>
                  </a:lnTo>
                  <a:lnTo>
                    <a:pt x="460" y="224"/>
                  </a:lnTo>
                  <a:lnTo>
                    <a:pt x="586" y="224"/>
                  </a:lnTo>
                  <a:lnTo>
                    <a:pt x="625" y="104"/>
                  </a:lnTo>
                  <a:lnTo>
                    <a:pt x="664" y="224"/>
                  </a:lnTo>
                  <a:lnTo>
                    <a:pt x="790" y="224"/>
                  </a:lnTo>
                  <a:lnTo>
                    <a:pt x="688" y="298"/>
                  </a:lnTo>
                  <a:lnTo>
                    <a:pt x="727" y="41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9" name="POWER_USER_ID_ICONS_Main_Office"/>
            <p:cNvSpPr>
              <a:spLocks noChangeArrowheads="1"/>
            </p:cNvSpPr>
            <p:nvPr>
              <p:custDataLst>
                <p:tags r:id="rId17"/>
              </p:custDataLst>
            </p:nvPr>
          </p:nvSpPr>
          <p:spPr bwMode="auto">
            <a:xfrm>
              <a:off x="238" y="8"/>
              <a:ext cx="92" cy="92"/>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0" name="POWER_USER_ID_ICONS_Main_Office"/>
            <p:cNvSpPr>
              <a:spLocks/>
            </p:cNvSpPr>
            <p:nvPr>
              <p:custDataLst>
                <p:tags r:id="rId18"/>
              </p:custDataLst>
            </p:nvPr>
          </p:nvSpPr>
          <p:spPr bwMode="auto">
            <a:xfrm>
              <a:off x="169" y="115"/>
              <a:ext cx="230" cy="123"/>
            </a:xfrm>
            <a:custGeom>
              <a:avLst/>
              <a:gdLst>
                <a:gd name="T0" fmla="*/ 399 w 520"/>
                <a:gd name="T1" fmla="*/ 0 h 278"/>
                <a:gd name="T2" fmla="*/ 121 w 520"/>
                <a:gd name="T3" fmla="*/ 0 h 278"/>
                <a:gd name="T4" fmla="*/ 0 w 520"/>
                <a:gd name="T5" fmla="*/ 122 h 278"/>
                <a:gd name="T6" fmla="*/ 0 w 520"/>
                <a:gd name="T7" fmla="*/ 243 h 278"/>
                <a:gd name="T8" fmla="*/ 0 w 520"/>
                <a:gd name="T9" fmla="*/ 278 h 278"/>
                <a:gd name="T10" fmla="*/ 86 w 520"/>
                <a:gd name="T11" fmla="*/ 278 h 278"/>
                <a:gd name="T12" fmla="*/ 86 w 520"/>
                <a:gd name="T13" fmla="*/ 243 h 278"/>
                <a:gd name="T14" fmla="*/ 86 w 520"/>
                <a:gd name="T15" fmla="*/ 139 h 278"/>
                <a:gd name="T16" fmla="*/ 121 w 520"/>
                <a:gd name="T17" fmla="*/ 139 h 278"/>
                <a:gd name="T18" fmla="*/ 121 w 520"/>
                <a:gd name="T19" fmla="*/ 243 h 278"/>
                <a:gd name="T20" fmla="*/ 121 w 520"/>
                <a:gd name="T21" fmla="*/ 278 h 278"/>
                <a:gd name="T22" fmla="*/ 399 w 520"/>
                <a:gd name="T23" fmla="*/ 278 h 278"/>
                <a:gd name="T24" fmla="*/ 399 w 520"/>
                <a:gd name="T25" fmla="*/ 243 h 278"/>
                <a:gd name="T26" fmla="*/ 399 w 520"/>
                <a:gd name="T27" fmla="*/ 139 h 278"/>
                <a:gd name="T28" fmla="*/ 434 w 520"/>
                <a:gd name="T29" fmla="*/ 139 h 278"/>
                <a:gd name="T30" fmla="*/ 434 w 520"/>
                <a:gd name="T31" fmla="*/ 243 h 278"/>
                <a:gd name="T32" fmla="*/ 434 w 520"/>
                <a:gd name="T33" fmla="*/ 278 h 278"/>
                <a:gd name="T34" fmla="*/ 520 w 520"/>
                <a:gd name="T35" fmla="*/ 278 h 278"/>
                <a:gd name="T36" fmla="*/ 520 w 520"/>
                <a:gd name="T37" fmla="*/ 243 h 278"/>
                <a:gd name="T38" fmla="*/ 520 w 520"/>
                <a:gd name="T39" fmla="*/ 122 h 278"/>
                <a:gd name="T40" fmla="*/ 399 w 520"/>
                <a:gd name="T41" fmla="*/ 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20" h="278">
                  <a:moveTo>
                    <a:pt x="399" y="0"/>
                  </a:moveTo>
                  <a:lnTo>
                    <a:pt x="121" y="0"/>
                  </a:lnTo>
                  <a:cubicBezTo>
                    <a:pt x="34" y="0"/>
                    <a:pt x="0" y="70"/>
                    <a:pt x="0" y="122"/>
                  </a:cubicBezTo>
                  <a:lnTo>
                    <a:pt x="0" y="243"/>
                  </a:lnTo>
                  <a:lnTo>
                    <a:pt x="0" y="278"/>
                  </a:lnTo>
                  <a:lnTo>
                    <a:pt x="86" y="278"/>
                  </a:lnTo>
                  <a:lnTo>
                    <a:pt x="86" y="243"/>
                  </a:lnTo>
                  <a:lnTo>
                    <a:pt x="86" y="139"/>
                  </a:lnTo>
                  <a:lnTo>
                    <a:pt x="121" y="139"/>
                  </a:lnTo>
                  <a:lnTo>
                    <a:pt x="121" y="243"/>
                  </a:lnTo>
                  <a:lnTo>
                    <a:pt x="121" y="278"/>
                  </a:lnTo>
                  <a:lnTo>
                    <a:pt x="399" y="278"/>
                  </a:lnTo>
                  <a:lnTo>
                    <a:pt x="399" y="243"/>
                  </a:lnTo>
                  <a:lnTo>
                    <a:pt x="399" y="139"/>
                  </a:lnTo>
                  <a:lnTo>
                    <a:pt x="434" y="139"/>
                  </a:lnTo>
                  <a:lnTo>
                    <a:pt x="434" y="243"/>
                  </a:lnTo>
                  <a:lnTo>
                    <a:pt x="434" y="278"/>
                  </a:lnTo>
                  <a:lnTo>
                    <a:pt x="520" y="278"/>
                  </a:lnTo>
                  <a:lnTo>
                    <a:pt x="520" y="243"/>
                  </a:lnTo>
                  <a:lnTo>
                    <a:pt x="520" y="122"/>
                  </a:lnTo>
                  <a:cubicBezTo>
                    <a:pt x="520" y="70"/>
                    <a:pt x="486" y="0"/>
                    <a:pt x="399"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nvGrpSpPr>
          <p:cNvPr id="21" name="POWER_USER_ID_ICONS_Poll"/>
          <p:cNvGrpSpPr>
            <a:grpSpLocks noChangeAspect="1"/>
          </p:cNvGrpSpPr>
          <p:nvPr>
            <p:custDataLst>
              <p:tags r:id="rId4"/>
            </p:custDataLst>
          </p:nvPr>
        </p:nvGrpSpPr>
        <p:grpSpPr bwMode="auto">
          <a:xfrm>
            <a:off x="3906120" y="3872344"/>
            <a:ext cx="590233" cy="728187"/>
            <a:chOff x="74" y="35"/>
            <a:chExt cx="338" cy="417"/>
          </a:xfrm>
          <a:solidFill>
            <a:schemeClr val="bg1"/>
          </a:solidFill>
        </p:grpSpPr>
        <p:sp>
          <p:nvSpPr>
            <p:cNvPr id="22" name="POWER_USER_ID_ICONS_Poll"/>
            <p:cNvSpPr>
              <a:spLocks/>
            </p:cNvSpPr>
            <p:nvPr>
              <p:custDataLst>
                <p:tags r:id="rId6"/>
              </p:custDataLst>
            </p:nvPr>
          </p:nvSpPr>
          <p:spPr bwMode="auto">
            <a:xfrm>
              <a:off x="74" y="35"/>
              <a:ext cx="338" cy="339"/>
            </a:xfrm>
            <a:custGeom>
              <a:avLst/>
              <a:gdLst>
                <a:gd name="T0" fmla="*/ 900 w 900"/>
                <a:gd name="T1" fmla="*/ 900 h 900"/>
                <a:gd name="T2" fmla="*/ 0 w 900"/>
                <a:gd name="T3" fmla="*/ 900 h 900"/>
                <a:gd name="T4" fmla="*/ 0 w 900"/>
                <a:gd name="T5" fmla="*/ 0 h 900"/>
                <a:gd name="T6" fmla="*/ 15 w 900"/>
                <a:gd name="T7" fmla="*/ 0 h 900"/>
                <a:gd name="T8" fmla="*/ 15 w 900"/>
                <a:gd name="T9" fmla="*/ 885 h 900"/>
                <a:gd name="T10" fmla="*/ 900 w 900"/>
                <a:gd name="T11" fmla="*/ 885 h 900"/>
                <a:gd name="T12" fmla="*/ 900 w 900"/>
                <a:gd name="T13" fmla="*/ 900 h 900"/>
              </a:gdLst>
              <a:ahLst/>
              <a:cxnLst>
                <a:cxn ang="0">
                  <a:pos x="T0" y="T1"/>
                </a:cxn>
                <a:cxn ang="0">
                  <a:pos x="T2" y="T3"/>
                </a:cxn>
                <a:cxn ang="0">
                  <a:pos x="T4" y="T5"/>
                </a:cxn>
                <a:cxn ang="0">
                  <a:pos x="T6" y="T7"/>
                </a:cxn>
                <a:cxn ang="0">
                  <a:pos x="T8" y="T9"/>
                </a:cxn>
                <a:cxn ang="0">
                  <a:pos x="T10" y="T11"/>
                </a:cxn>
                <a:cxn ang="0">
                  <a:pos x="T12" y="T13"/>
                </a:cxn>
              </a:cxnLst>
              <a:rect l="0" t="0" r="r" b="b"/>
              <a:pathLst>
                <a:path w="900" h="900">
                  <a:moveTo>
                    <a:pt x="900" y="900"/>
                  </a:moveTo>
                  <a:lnTo>
                    <a:pt x="0" y="900"/>
                  </a:lnTo>
                  <a:lnTo>
                    <a:pt x="0" y="0"/>
                  </a:lnTo>
                  <a:lnTo>
                    <a:pt x="15" y="0"/>
                  </a:lnTo>
                  <a:lnTo>
                    <a:pt x="15" y="885"/>
                  </a:lnTo>
                  <a:lnTo>
                    <a:pt x="900" y="885"/>
                  </a:lnTo>
                  <a:lnTo>
                    <a:pt x="900" y="90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3" name="POWER_USER_ID_ICONS_Poll"/>
            <p:cNvSpPr>
              <a:spLocks noEditPoints="1"/>
            </p:cNvSpPr>
            <p:nvPr>
              <p:custDataLst>
                <p:tags r:id="rId7"/>
              </p:custDataLst>
            </p:nvPr>
          </p:nvSpPr>
          <p:spPr bwMode="auto">
            <a:xfrm>
              <a:off x="113" y="84"/>
              <a:ext cx="64" cy="255"/>
            </a:xfrm>
            <a:custGeom>
              <a:avLst/>
              <a:gdLst>
                <a:gd name="T0" fmla="*/ 172 w 172"/>
                <a:gd name="T1" fmla="*/ 676 h 676"/>
                <a:gd name="T2" fmla="*/ 0 w 172"/>
                <a:gd name="T3" fmla="*/ 676 h 676"/>
                <a:gd name="T4" fmla="*/ 0 w 172"/>
                <a:gd name="T5" fmla="*/ 0 h 676"/>
                <a:gd name="T6" fmla="*/ 172 w 172"/>
                <a:gd name="T7" fmla="*/ 0 h 676"/>
                <a:gd name="T8" fmla="*/ 172 w 172"/>
                <a:gd name="T9" fmla="*/ 676 h 676"/>
                <a:gd name="T10" fmla="*/ 15 w 172"/>
                <a:gd name="T11" fmla="*/ 661 h 676"/>
                <a:gd name="T12" fmla="*/ 157 w 172"/>
                <a:gd name="T13" fmla="*/ 661 h 676"/>
                <a:gd name="T14" fmla="*/ 157 w 172"/>
                <a:gd name="T15" fmla="*/ 15 h 676"/>
                <a:gd name="T16" fmla="*/ 15 w 172"/>
                <a:gd name="T17" fmla="*/ 15 h 676"/>
                <a:gd name="T18" fmla="*/ 15 w 172"/>
                <a:gd name="T19" fmla="*/ 661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2" h="676">
                  <a:moveTo>
                    <a:pt x="172" y="676"/>
                  </a:moveTo>
                  <a:lnTo>
                    <a:pt x="0" y="676"/>
                  </a:lnTo>
                  <a:lnTo>
                    <a:pt x="0" y="0"/>
                  </a:lnTo>
                  <a:lnTo>
                    <a:pt x="172" y="0"/>
                  </a:lnTo>
                  <a:lnTo>
                    <a:pt x="172" y="676"/>
                  </a:lnTo>
                  <a:close/>
                  <a:moveTo>
                    <a:pt x="15" y="661"/>
                  </a:moveTo>
                  <a:lnTo>
                    <a:pt x="157" y="661"/>
                  </a:lnTo>
                  <a:lnTo>
                    <a:pt x="157" y="15"/>
                  </a:lnTo>
                  <a:lnTo>
                    <a:pt x="15" y="15"/>
                  </a:lnTo>
                  <a:lnTo>
                    <a:pt x="15" y="66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4" name="POWER_USER_ID_ICONS_Poll"/>
            <p:cNvSpPr>
              <a:spLocks noEditPoints="1"/>
            </p:cNvSpPr>
            <p:nvPr>
              <p:custDataLst>
                <p:tags r:id="rId8"/>
              </p:custDataLst>
            </p:nvPr>
          </p:nvSpPr>
          <p:spPr bwMode="auto">
            <a:xfrm>
              <a:off x="200" y="172"/>
              <a:ext cx="65" cy="167"/>
            </a:xfrm>
            <a:custGeom>
              <a:avLst/>
              <a:gdLst>
                <a:gd name="T0" fmla="*/ 172 w 172"/>
                <a:gd name="T1" fmla="*/ 444 h 444"/>
                <a:gd name="T2" fmla="*/ 0 w 172"/>
                <a:gd name="T3" fmla="*/ 444 h 444"/>
                <a:gd name="T4" fmla="*/ 0 w 172"/>
                <a:gd name="T5" fmla="*/ 0 h 444"/>
                <a:gd name="T6" fmla="*/ 172 w 172"/>
                <a:gd name="T7" fmla="*/ 0 h 444"/>
                <a:gd name="T8" fmla="*/ 172 w 172"/>
                <a:gd name="T9" fmla="*/ 444 h 444"/>
                <a:gd name="T10" fmla="*/ 15 w 172"/>
                <a:gd name="T11" fmla="*/ 429 h 444"/>
                <a:gd name="T12" fmla="*/ 157 w 172"/>
                <a:gd name="T13" fmla="*/ 429 h 444"/>
                <a:gd name="T14" fmla="*/ 157 w 172"/>
                <a:gd name="T15" fmla="*/ 15 h 444"/>
                <a:gd name="T16" fmla="*/ 15 w 172"/>
                <a:gd name="T17" fmla="*/ 15 h 444"/>
                <a:gd name="T18" fmla="*/ 15 w 172"/>
                <a:gd name="T19" fmla="*/ 429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2" h="444">
                  <a:moveTo>
                    <a:pt x="172" y="444"/>
                  </a:moveTo>
                  <a:lnTo>
                    <a:pt x="0" y="444"/>
                  </a:lnTo>
                  <a:lnTo>
                    <a:pt x="0" y="0"/>
                  </a:lnTo>
                  <a:lnTo>
                    <a:pt x="172" y="0"/>
                  </a:lnTo>
                  <a:lnTo>
                    <a:pt x="172" y="444"/>
                  </a:lnTo>
                  <a:close/>
                  <a:moveTo>
                    <a:pt x="15" y="429"/>
                  </a:moveTo>
                  <a:lnTo>
                    <a:pt x="157" y="429"/>
                  </a:lnTo>
                  <a:lnTo>
                    <a:pt x="157" y="15"/>
                  </a:lnTo>
                  <a:lnTo>
                    <a:pt x="15" y="15"/>
                  </a:lnTo>
                  <a:lnTo>
                    <a:pt x="15" y="42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5" name="POWER_USER_ID_ICONS_Poll"/>
            <p:cNvSpPr>
              <a:spLocks noEditPoints="1"/>
            </p:cNvSpPr>
            <p:nvPr>
              <p:custDataLst>
                <p:tags r:id="rId9"/>
              </p:custDataLst>
            </p:nvPr>
          </p:nvSpPr>
          <p:spPr bwMode="auto">
            <a:xfrm>
              <a:off x="287" y="136"/>
              <a:ext cx="65" cy="203"/>
            </a:xfrm>
            <a:custGeom>
              <a:avLst/>
              <a:gdLst>
                <a:gd name="T0" fmla="*/ 172 w 172"/>
                <a:gd name="T1" fmla="*/ 539 h 539"/>
                <a:gd name="T2" fmla="*/ 0 w 172"/>
                <a:gd name="T3" fmla="*/ 539 h 539"/>
                <a:gd name="T4" fmla="*/ 0 w 172"/>
                <a:gd name="T5" fmla="*/ 0 h 539"/>
                <a:gd name="T6" fmla="*/ 172 w 172"/>
                <a:gd name="T7" fmla="*/ 0 h 539"/>
                <a:gd name="T8" fmla="*/ 172 w 172"/>
                <a:gd name="T9" fmla="*/ 539 h 539"/>
                <a:gd name="T10" fmla="*/ 15 w 172"/>
                <a:gd name="T11" fmla="*/ 524 h 539"/>
                <a:gd name="T12" fmla="*/ 157 w 172"/>
                <a:gd name="T13" fmla="*/ 524 h 539"/>
                <a:gd name="T14" fmla="*/ 157 w 172"/>
                <a:gd name="T15" fmla="*/ 15 h 539"/>
                <a:gd name="T16" fmla="*/ 15 w 172"/>
                <a:gd name="T17" fmla="*/ 15 h 539"/>
                <a:gd name="T18" fmla="*/ 15 w 172"/>
                <a:gd name="T19" fmla="*/ 524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2" h="539">
                  <a:moveTo>
                    <a:pt x="172" y="539"/>
                  </a:moveTo>
                  <a:lnTo>
                    <a:pt x="0" y="539"/>
                  </a:lnTo>
                  <a:lnTo>
                    <a:pt x="0" y="0"/>
                  </a:lnTo>
                  <a:lnTo>
                    <a:pt x="172" y="0"/>
                  </a:lnTo>
                  <a:lnTo>
                    <a:pt x="172" y="539"/>
                  </a:lnTo>
                  <a:close/>
                  <a:moveTo>
                    <a:pt x="15" y="524"/>
                  </a:moveTo>
                  <a:lnTo>
                    <a:pt x="157" y="524"/>
                  </a:lnTo>
                  <a:lnTo>
                    <a:pt x="157" y="15"/>
                  </a:lnTo>
                  <a:lnTo>
                    <a:pt x="15" y="15"/>
                  </a:lnTo>
                  <a:lnTo>
                    <a:pt x="15" y="52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6" name="POWER_USER_ID_ICONS_Poll"/>
            <p:cNvSpPr>
              <a:spLocks noChangeArrowheads="1"/>
            </p:cNvSpPr>
            <p:nvPr>
              <p:custDataLst>
                <p:tags r:id="rId10"/>
              </p:custDataLst>
            </p:nvPr>
          </p:nvSpPr>
          <p:spPr bwMode="auto">
            <a:xfrm>
              <a:off x="129" y="384"/>
              <a:ext cx="32" cy="31"/>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7" name="POWER_USER_ID_ICONS_Poll"/>
            <p:cNvSpPr>
              <a:spLocks/>
            </p:cNvSpPr>
            <p:nvPr>
              <p:custDataLst>
                <p:tags r:id="rId11"/>
              </p:custDataLst>
            </p:nvPr>
          </p:nvSpPr>
          <p:spPr bwMode="auto">
            <a:xfrm>
              <a:off x="115" y="411"/>
              <a:ext cx="61" cy="41"/>
            </a:xfrm>
            <a:custGeom>
              <a:avLst/>
              <a:gdLst>
                <a:gd name="T0" fmla="*/ 145 w 162"/>
                <a:gd name="T1" fmla="*/ 16 h 108"/>
                <a:gd name="T2" fmla="*/ 125 w 162"/>
                <a:gd name="T3" fmla="*/ 0 h 108"/>
                <a:gd name="T4" fmla="*/ 81 w 162"/>
                <a:gd name="T5" fmla="*/ 23 h 108"/>
                <a:gd name="T6" fmla="*/ 37 w 162"/>
                <a:gd name="T7" fmla="*/ 0 h 108"/>
                <a:gd name="T8" fmla="*/ 17 w 162"/>
                <a:gd name="T9" fmla="*/ 16 h 108"/>
                <a:gd name="T10" fmla="*/ 0 w 162"/>
                <a:gd name="T11" fmla="*/ 98 h 108"/>
                <a:gd name="T12" fmla="*/ 81 w 162"/>
                <a:gd name="T13" fmla="*/ 108 h 108"/>
                <a:gd name="T14" fmla="*/ 162 w 162"/>
                <a:gd name="T15" fmla="*/ 98 h 108"/>
                <a:gd name="T16" fmla="*/ 145 w 162"/>
                <a:gd name="T17" fmla="*/ 1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108">
                  <a:moveTo>
                    <a:pt x="145" y="16"/>
                  </a:moveTo>
                  <a:cubicBezTo>
                    <a:pt x="141" y="9"/>
                    <a:pt x="134" y="4"/>
                    <a:pt x="125" y="0"/>
                  </a:cubicBezTo>
                  <a:cubicBezTo>
                    <a:pt x="115" y="14"/>
                    <a:pt x="99" y="23"/>
                    <a:pt x="81" y="23"/>
                  </a:cubicBezTo>
                  <a:cubicBezTo>
                    <a:pt x="63" y="23"/>
                    <a:pt x="47" y="14"/>
                    <a:pt x="37" y="0"/>
                  </a:cubicBezTo>
                  <a:cubicBezTo>
                    <a:pt x="29" y="4"/>
                    <a:pt x="21" y="9"/>
                    <a:pt x="17" y="16"/>
                  </a:cubicBezTo>
                  <a:cubicBezTo>
                    <a:pt x="3" y="38"/>
                    <a:pt x="0" y="72"/>
                    <a:pt x="0" y="98"/>
                  </a:cubicBezTo>
                  <a:cubicBezTo>
                    <a:pt x="0" y="98"/>
                    <a:pt x="36" y="108"/>
                    <a:pt x="81" y="108"/>
                  </a:cubicBezTo>
                  <a:cubicBezTo>
                    <a:pt x="127" y="108"/>
                    <a:pt x="162" y="98"/>
                    <a:pt x="162" y="98"/>
                  </a:cubicBezTo>
                  <a:cubicBezTo>
                    <a:pt x="162" y="72"/>
                    <a:pt x="159" y="38"/>
                    <a:pt x="145" y="1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8" name="POWER_USER_ID_ICONS_Poll"/>
            <p:cNvSpPr>
              <a:spLocks noChangeArrowheads="1"/>
            </p:cNvSpPr>
            <p:nvPr>
              <p:custDataLst>
                <p:tags r:id="rId12"/>
              </p:custDataLst>
            </p:nvPr>
          </p:nvSpPr>
          <p:spPr bwMode="auto">
            <a:xfrm>
              <a:off x="216" y="384"/>
              <a:ext cx="32" cy="31"/>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9" name="POWER_USER_ID_ICONS_Poll"/>
            <p:cNvSpPr>
              <a:spLocks/>
            </p:cNvSpPr>
            <p:nvPr>
              <p:custDataLst>
                <p:tags r:id="rId13"/>
              </p:custDataLst>
            </p:nvPr>
          </p:nvSpPr>
          <p:spPr bwMode="auto">
            <a:xfrm>
              <a:off x="202" y="411"/>
              <a:ext cx="61" cy="41"/>
            </a:xfrm>
            <a:custGeom>
              <a:avLst/>
              <a:gdLst>
                <a:gd name="T0" fmla="*/ 145 w 162"/>
                <a:gd name="T1" fmla="*/ 16 h 108"/>
                <a:gd name="T2" fmla="*/ 125 w 162"/>
                <a:gd name="T3" fmla="*/ 0 h 108"/>
                <a:gd name="T4" fmla="*/ 81 w 162"/>
                <a:gd name="T5" fmla="*/ 23 h 108"/>
                <a:gd name="T6" fmla="*/ 37 w 162"/>
                <a:gd name="T7" fmla="*/ 0 h 108"/>
                <a:gd name="T8" fmla="*/ 17 w 162"/>
                <a:gd name="T9" fmla="*/ 16 h 108"/>
                <a:gd name="T10" fmla="*/ 0 w 162"/>
                <a:gd name="T11" fmla="*/ 98 h 108"/>
                <a:gd name="T12" fmla="*/ 81 w 162"/>
                <a:gd name="T13" fmla="*/ 108 h 108"/>
                <a:gd name="T14" fmla="*/ 162 w 162"/>
                <a:gd name="T15" fmla="*/ 98 h 108"/>
                <a:gd name="T16" fmla="*/ 145 w 162"/>
                <a:gd name="T17" fmla="*/ 1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108">
                  <a:moveTo>
                    <a:pt x="145" y="16"/>
                  </a:moveTo>
                  <a:cubicBezTo>
                    <a:pt x="141" y="9"/>
                    <a:pt x="133" y="4"/>
                    <a:pt x="125" y="0"/>
                  </a:cubicBezTo>
                  <a:cubicBezTo>
                    <a:pt x="115" y="14"/>
                    <a:pt x="99" y="23"/>
                    <a:pt x="81" y="23"/>
                  </a:cubicBezTo>
                  <a:cubicBezTo>
                    <a:pt x="63" y="23"/>
                    <a:pt x="47" y="14"/>
                    <a:pt x="37" y="0"/>
                  </a:cubicBezTo>
                  <a:cubicBezTo>
                    <a:pt x="28" y="4"/>
                    <a:pt x="21" y="9"/>
                    <a:pt x="17" y="16"/>
                  </a:cubicBezTo>
                  <a:cubicBezTo>
                    <a:pt x="3" y="38"/>
                    <a:pt x="0" y="72"/>
                    <a:pt x="0" y="98"/>
                  </a:cubicBezTo>
                  <a:cubicBezTo>
                    <a:pt x="0" y="98"/>
                    <a:pt x="36" y="108"/>
                    <a:pt x="81" y="108"/>
                  </a:cubicBezTo>
                  <a:cubicBezTo>
                    <a:pt x="126" y="108"/>
                    <a:pt x="162" y="98"/>
                    <a:pt x="162" y="98"/>
                  </a:cubicBezTo>
                  <a:cubicBezTo>
                    <a:pt x="162" y="72"/>
                    <a:pt x="159" y="38"/>
                    <a:pt x="145" y="1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0" name="POWER_USER_ID_ICONS_Poll"/>
            <p:cNvSpPr>
              <a:spLocks noChangeArrowheads="1"/>
            </p:cNvSpPr>
            <p:nvPr>
              <p:custDataLst>
                <p:tags r:id="rId14"/>
              </p:custDataLst>
            </p:nvPr>
          </p:nvSpPr>
          <p:spPr bwMode="auto">
            <a:xfrm>
              <a:off x="304" y="384"/>
              <a:ext cx="31" cy="31"/>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1" name="POWER_USER_ID_ICONS_Poll"/>
            <p:cNvSpPr>
              <a:spLocks/>
            </p:cNvSpPr>
            <p:nvPr>
              <p:custDataLst>
                <p:tags r:id="rId15"/>
              </p:custDataLst>
            </p:nvPr>
          </p:nvSpPr>
          <p:spPr bwMode="auto">
            <a:xfrm>
              <a:off x="289" y="411"/>
              <a:ext cx="61" cy="41"/>
            </a:xfrm>
            <a:custGeom>
              <a:avLst/>
              <a:gdLst>
                <a:gd name="T0" fmla="*/ 145 w 162"/>
                <a:gd name="T1" fmla="*/ 16 h 108"/>
                <a:gd name="T2" fmla="*/ 125 w 162"/>
                <a:gd name="T3" fmla="*/ 0 h 108"/>
                <a:gd name="T4" fmla="*/ 81 w 162"/>
                <a:gd name="T5" fmla="*/ 23 h 108"/>
                <a:gd name="T6" fmla="*/ 37 w 162"/>
                <a:gd name="T7" fmla="*/ 0 h 108"/>
                <a:gd name="T8" fmla="*/ 17 w 162"/>
                <a:gd name="T9" fmla="*/ 16 h 108"/>
                <a:gd name="T10" fmla="*/ 0 w 162"/>
                <a:gd name="T11" fmla="*/ 98 h 108"/>
                <a:gd name="T12" fmla="*/ 81 w 162"/>
                <a:gd name="T13" fmla="*/ 108 h 108"/>
                <a:gd name="T14" fmla="*/ 162 w 162"/>
                <a:gd name="T15" fmla="*/ 98 h 108"/>
                <a:gd name="T16" fmla="*/ 145 w 162"/>
                <a:gd name="T17" fmla="*/ 1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108">
                  <a:moveTo>
                    <a:pt x="145" y="16"/>
                  </a:moveTo>
                  <a:cubicBezTo>
                    <a:pt x="141" y="9"/>
                    <a:pt x="133" y="4"/>
                    <a:pt x="125" y="0"/>
                  </a:cubicBezTo>
                  <a:cubicBezTo>
                    <a:pt x="115" y="14"/>
                    <a:pt x="99" y="23"/>
                    <a:pt x="81" y="23"/>
                  </a:cubicBezTo>
                  <a:cubicBezTo>
                    <a:pt x="63" y="23"/>
                    <a:pt x="46" y="14"/>
                    <a:pt x="37" y="0"/>
                  </a:cubicBezTo>
                  <a:cubicBezTo>
                    <a:pt x="28" y="4"/>
                    <a:pt x="21" y="9"/>
                    <a:pt x="17" y="16"/>
                  </a:cubicBezTo>
                  <a:cubicBezTo>
                    <a:pt x="3" y="38"/>
                    <a:pt x="0" y="72"/>
                    <a:pt x="0" y="98"/>
                  </a:cubicBezTo>
                  <a:cubicBezTo>
                    <a:pt x="0" y="98"/>
                    <a:pt x="35" y="108"/>
                    <a:pt x="81" y="108"/>
                  </a:cubicBezTo>
                  <a:cubicBezTo>
                    <a:pt x="126" y="108"/>
                    <a:pt x="162" y="98"/>
                    <a:pt x="162" y="98"/>
                  </a:cubicBezTo>
                  <a:cubicBezTo>
                    <a:pt x="162" y="72"/>
                    <a:pt x="158" y="38"/>
                    <a:pt x="145" y="1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sp>
        <p:nvSpPr>
          <p:cNvPr id="32" name="POWER_USER_ID_ICONS_Target2"/>
          <p:cNvSpPr>
            <a:spLocks noChangeAspect="1" noEditPoints="1"/>
          </p:cNvSpPr>
          <p:nvPr>
            <p:custDataLst>
              <p:tags r:id="rId5"/>
            </p:custDataLst>
          </p:nvPr>
        </p:nvSpPr>
        <p:spPr bwMode="auto">
          <a:xfrm>
            <a:off x="3748140" y="5479907"/>
            <a:ext cx="868236" cy="631969"/>
          </a:xfrm>
          <a:custGeom>
            <a:avLst/>
            <a:gdLst>
              <a:gd name="T0" fmla="*/ 297 w 980"/>
              <a:gd name="T1" fmla="*/ 214 h 713"/>
              <a:gd name="T2" fmla="*/ 620 w 980"/>
              <a:gd name="T3" fmla="*/ 51 h 713"/>
              <a:gd name="T4" fmla="*/ 620 w 980"/>
              <a:gd name="T5" fmla="*/ 663 h 713"/>
              <a:gd name="T6" fmla="*/ 329 w 980"/>
              <a:gd name="T7" fmla="*/ 260 h 713"/>
              <a:gd name="T8" fmla="*/ 267 w 980"/>
              <a:gd name="T9" fmla="*/ 356 h 713"/>
              <a:gd name="T10" fmla="*/ 980 w 980"/>
              <a:gd name="T11" fmla="*/ 356 h 713"/>
              <a:gd name="T12" fmla="*/ 22 w 980"/>
              <a:gd name="T13" fmla="*/ 76 h 713"/>
              <a:gd name="T14" fmla="*/ 0 w 980"/>
              <a:gd name="T15" fmla="*/ 142 h 713"/>
              <a:gd name="T16" fmla="*/ 94 w 980"/>
              <a:gd name="T17" fmla="*/ 164 h 713"/>
              <a:gd name="T18" fmla="*/ 593 w 980"/>
              <a:gd name="T19" fmla="*/ 357 h 713"/>
              <a:gd name="T20" fmla="*/ 587 w 980"/>
              <a:gd name="T21" fmla="*/ 394 h 713"/>
              <a:gd name="T22" fmla="*/ 617 w 980"/>
              <a:gd name="T23" fmla="*/ 291 h 713"/>
              <a:gd name="T24" fmla="*/ 603 w 980"/>
              <a:gd name="T25" fmla="*/ 334 h 713"/>
              <a:gd name="T26" fmla="*/ 107 w 980"/>
              <a:gd name="T27" fmla="*/ 142 h 713"/>
              <a:gd name="T28" fmla="*/ 22 w 980"/>
              <a:gd name="T29" fmla="*/ 76 h 713"/>
              <a:gd name="T30" fmla="*/ 379 w 980"/>
              <a:gd name="T31" fmla="*/ 246 h 713"/>
              <a:gd name="T32" fmla="*/ 620 w 980"/>
              <a:gd name="T33" fmla="*/ 144 h 713"/>
              <a:gd name="T34" fmla="*/ 620 w 980"/>
              <a:gd name="T35" fmla="*/ 569 h 713"/>
              <a:gd name="T36" fmla="*/ 417 w 980"/>
              <a:gd name="T37" fmla="*/ 291 h 713"/>
              <a:gd name="T38" fmla="*/ 355 w 980"/>
              <a:gd name="T39" fmla="*/ 356 h 713"/>
              <a:gd name="T40" fmla="*/ 885 w 980"/>
              <a:gd name="T41" fmla="*/ 356 h 713"/>
              <a:gd name="T42" fmla="*/ 620 w 980"/>
              <a:gd name="T43" fmla="*/ 181 h 713"/>
              <a:gd name="T44" fmla="*/ 512 w 980"/>
              <a:gd name="T45" fmla="*/ 298 h 713"/>
              <a:gd name="T46" fmla="*/ 743 w 980"/>
              <a:gd name="T47" fmla="*/ 356 h 713"/>
              <a:gd name="T48" fmla="*/ 497 w 980"/>
              <a:gd name="T49" fmla="*/ 356 h 713"/>
              <a:gd name="T50" fmla="*/ 452 w 980"/>
              <a:gd name="T51" fmla="*/ 305 h 713"/>
              <a:gd name="T52" fmla="*/ 620 w 980"/>
              <a:gd name="T53" fmla="*/ 532 h 713"/>
              <a:gd name="T54" fmla="*/ 620 w 980"/>
              <a:gd name="T55" fmla="*/ 181 h 713"/>
              <a:gd name="T56" fmla="*/ 548 w 980"/>
              <a:gd name="T57" fmla="*/ 310 h 713"/>
              <a:gd name="T58" fmla="*/ 615 w 980"/>
              <a:gd name="T59" fmla="*/ 287 h 713"/>
              <a:gd name="T60" fmla="*/ 618 w 980"/>
              <a:gd name="T61" fmla="*/ 286 h 713"/>
              <a:gd name="T62" fmla="*/ 663 w 980"/>
              <a:gd name="T63" fmla="*/ 357 h 713"/>
              <a:gd name="T64" fmla="*/ 585 w 980"/>
              <a:gd name="T65" fmla="*/ 399 h 713"/>
              <a:gd name="T66" fmla="*/ 583 w 980"/>
              <a:gd name="T67" fmla="*/ 397 h 713"/>
              <a:gd name="T68" fmla="*/ 537 w 980"/>
              <a:gd name="T69" fmla="*/ 338 h 713"/>
              <a:gd name="T70" fmla="*/ 620 w 980"/>
              <a:gd name="T71" fmla="*/ 442 h 713"/>
              <a:gd name="T72" fmla="*/ 620 w 980"/>
              <a:gd name="T73" fmla="*/ 271 h 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0" h="713">
                <a:moveTo>
                  <a:pt x="624" y="0"/>
                </a:moveTo>
                <a:cubicBezTo>
                  <a:pt x="478" y="0"/>
                  <a:pt x="352" y="88"/>
                  <a:pt x="297" y="214"/>
                </a:cubicBezTo>
                <a:lnTo>
                  <a:pt x="341" y="231"/>
                </a:lnTo>
                <a:cubicBezTo>
                  <a:pt x="389" y="125"/>
                  <a:pt x="496" y="51"/>
                  <a:pt x="620" y="51"/>
                </a:cubicBezTo>
                <a:cubicBezTo>
                  <a:pt x="788" y="51"/>
                  <a:pt x="926" y="188"/>
                  <a:pt x="926" y="356"/>
                </a:cubicBezTo>
                <a:cubicBezTo>
                  <a:pt x="926" y="525"/>
                  <a:pt x="788" y="663"/>
                  <a:pt x="620" y="663"/>
                </a:cubicBezTo>
                <a:cubicBezTo>
                  <a:pt x="451" y="663"/>
                  <a:pt x="314" y="525"/>
                  <a:pt x="314" y="356"/>
                </a:cubicBezTo>
                <a:cubicBezTo>
                  <a:pt x="314" y="322"/>
                  <a:pt x="318" y="291"/>
                  <a:pt x="329" y="260"/>
                </a:cubicBezTo>
                <a:lnTo>
                  <a:pt x="286" y="243"/>
                </a:lnTo>
                <a:cubicBezTo>
                  <a:pt x="273" y="279"/>
                  <a:pt x="267" y="316"/>
                  <a:pt x="267" y="356"/>
                </a:cubicBezTo>
                <a:cubicBezTo>
                  <a:pt x="267" y="553"/>
                  <a:pt x="427" y="713"/>
                  <a:pt x="624" y="713"/>
                </a:cubicBezTo>
                <a:cubicBezTo>
                  <a:pt x="821" y="713"/>
                  <a:pt x="980" y="553"/>
                  <a:pt x="980" y="356"/>
                </a:cubicBezTo>
                <a:cubicBezTo>
                  <a:pt x="980" y="160"/>
                  <a:pt x="821" y="0"/>
                  <a:pt x="624" y="0"/>
                </a:cubicBezTo>
                <a:close/>
                <a:moveTo>
                  <a:pt x="22" y="76"/>
                </a:moveTo>
                <a:cubicBezTo>
                  <a:pt x="56" y="114"/>
                  <a:pt x="60" y="134"/>
                  <a:pt x="60" y="134"/>
                </a:cubicBezTo>
                <a:cubicBezTo>
                  <a:pt x="60" y="134"/>
                  <a:pt x="48" y="140"/>
                  <a:pt x="0" y="142"/>
                </a:cubicBezTo>
                <a:cubicBezTo>
                  <a:pt x="0" y="142"/>
                  <a:pt x="50" y="172"/>
                  <a:pt x="77" y="172"/>
                </a:cubicBezTo>
                <a:cubicBezTo>
                  <a:pt x="83" y="172"/>
                  <a:pt x="94" y="164"/>
                  <a:pt x="94" y="164"/>
                </a:cubicBezTo>
                <a:lnTo>
                  <a:pt x="591" y="356"/>
                </a:lnTo>
                <a:lnTo>
                  <a:pt x="593" y="357"/>
                </a:lnTo>
                <a:lnTo>
                  <a:pt x="598" y="359"/>
                </a:lnTo>
                <a:lnTo>
                  <a:pt x="587" y="394"/>
                </a:lnTo>
                <a:lnTo>
                  <a:pt x="658" y="356"/>
                </a:lnTo>
                <a:lnTo>
                  <a:pt x="617" y="291"/>
                </a:lnTo>
                <a:lnTo>
                  <a:pt x="603" y="333"/>
                </a:lnTo>
                <a:lnTo>
                  <a:pt x="603" y="334"/>
                </a:lnTo>
                <a:cubicBezTo>
                  <a:pt x="601" y="334"/>
                  <a:pt x="602" y="334"/>
                  <a:pt x="602" y="334"/>
                </a:cubicBezTo>
                <a:lnTo>
                  <a:pt x="107" y="142"/>
                </a:lnTo>
                <a:cubicBezTo>
                  <a:pt x="107" y="142"/>
                  <a:pt x="101" y="121"/>
                  <a:pt x="93" y="113"/>
                </a:cubicBezTo>
                <a:cubicBezTo>
                  <a:pt x="75" y="94"/>
                  <a:pt x="22" y="76"/>
                  <a:pt x="22" y="76"/>
                </a:cubicBezTo>
                <a:close/>
                <a:moveTo>
                  <a:pt x="620" y="92"/>
                </a:moveTo>
                <a:cubicBezTo>
                  <a:pt x="513" y="92"/>
                  <a:pt x="421" y="155"/>
                  <a:pt x="379" y="246"/>
                </a:cubicBezTo>
                <a:lnTo>
                  <a:pt x="428" y="265"/>
                </a:lnTo>
                <a:cubicBezTo>
                  <a:pt x="462" y="194"/>
                  <a:pt x="535" y="144"/>
                  <a:pt x="620" y="144"/>
                </a:cubicBezTo>
                <a:cubicBezTo>
                  <a:pt x="737" y="144"/>
                  <a:pt x="832" y="239"/>
                  <a:pt x="832" y="356"/>
                </a:cubicBezTo>
                <a:cubicBezTo>
                  <a:pt x="832" y="474"/>
                  <a:pt x="737" y="569"/>
                  <a:pt x="620" y="569"/>
                </a:cubicBezTo>
                <a:cubicBezTo>
                  <a:pt x="503" y="569"/>
                  <a:pt x="407" y="474"/>
                  <a:pt x="407" y="356"/>
                </a:cubicBezTo>
                <a:cubicBezTo>
                  <a:pt x="407" y="333"/>
                  <a:pt x="410" y="312"/>
                  <a:pt x="417" y="291"/>
                </a:cubicBezTo>
                <a:lnTo>
                  <a:pt x="369" y="273"/>
                </a:lnTo>
                <a:cubicBezTo>
                  <a:pt x="360" y="300"/>
                  <a:pt x="355" y="327"/>
                  <a:pt x="355" y="356"/>
                </a:cubicBezTo>
                <a:cubicBezTo>
                  <a:pt x="355" y="503"/>
                  <a:pt x="474" y="621"/>
                  <a:pt x="620" y="621"/>
                </a:cubicBezTo>
                <a:cubicBezTo>
                  <a:pt x="766" y="621"/>
                  <a:pt x="885" y="503"/>
                  <a:pt x="885" y="356"/>
                </a:cubicBezTo>
                <a:cubicBezTo>
                  <a:pt x="885" y="210"/>
                  <a:pt x="766" y="92"/>
                  <a:pt x="620" y="92"/>
                </a:cubicBezTo>
                <a:close/>
                <a:moveTo>
                  <a:pt x="620" y="181"/>
                </a:moveTo>
                <a:cubicBezTo>
                  <a:pt x="551" y="181"/>
                  <a:pt x="492" y="221"/>
                  <a:pt x="463" y="278"/>
                </a:cubicBezTo>
                <a:lnTo>
                  <a:pt x="512" y="298"/>
                </a:lnTo>
                <a:cubicBezTo>
                  <a:pt x="533" y="260"/>
                  <a:pt x="573" y="234"/>
                  <a:pt x="620" y="234"/>
                </a:cubicBezTo>
                <a:cubicBezTo>
                  <a:pt x="687" y="234"/>
                  <a:pt x="743" y="289"/>
                  <a:pt x="743" y="356"/>
                </a:cubicBezTo>
                <a:cubicBezTo>
                  <a:pt x="743" y="424"/>
                  <a:pt x="687" y="479"/>
                  <a:pt x="620" y="479"/>
                </a:cubicBezTo>
                <a:cubicBezTo>
                  <a:pt x="552" y="479"/>
                  <a:pt x="497" y="424"/>
                  <a:pt x="497" y="356"/>
                </a:cubicBezTo>
                <a:cubicBezTo>
                  <a:pt x="497" y="345"/>
                  <a:pt x="498" y="335"/>
                  <a:pt x="501" y="324"/>
                </a:cubicBezTo>
                <a:lnTo>
                  <a:pt x="452" y="305"/>
                </a:lnTo>
                <a:cubicBezTo>
                  <a:pt x="447" y="322"/>
                  <a:pt x="444" y="338"/>
                  <a:pt x="444" y="356"/>
                </a:cubicBezTo>
                <a:cubicBezTo>
                  <a:pt x="444" y="453"/>
                  <a:pt x="523" y="532"/>
                  <a:pt x="620" y="532"/>
                </a:cubicBezTo>
                <a:cubicBezTo>
                  <a:pt x="716" y="532"/>
                  <a:pt x="795" y="453"/>
                  <a:pt x="795" y="356"/>
                </a:cubicBezTo>
                <a:cubicBezTo>
                  <a:pt x="795" y="260"/>
                  <a:pt x="716" y="181"/>
                  <a:pt x="620" y="181"/>
                </a:cubicBezTo>
                <a:close/>
                <a:moveTo>
                  <a:pt x="620" y="271"/>
                </a:moveTo>
                <a:cubicBezTo>
                  <a:pt x="590" y="271"/>
                  <a:pt x="564" y="287"/>
                  <a:pt x="548" y="310"/>
                </a:cubicBezTo>
                <a:lnTo>
                  <a:pt x="600" y="330"/>
                </a:lnTo>
                <a:lnTo>
                  <a:pt x="615" y="287"/>
                </a:lnTo>
                <a:lnTo>
                  <a:pt x="616" y="283"/>
                </a:lnTo>
                <a:lnTo>
                  <a:pt x="618" y="286"/>
                </a:lnTo>
                <a:lnTo>
                  <a:pt x="662" y="356"/>
                </a:lnTo>
                <a:lnTo>
                  <a:pt x="663" y="357"/>
                </a:lnTo>
                <a:lnTo>
                  <a:pt x="662" y="358"/>
                </a:lnTo>
                <a:lnTo>
                  <a:pt x="585" y="399"/>
                </a:lnTo>
                <a:lnTo>
                  <a:pt x="581" y="401"/>
                </a:lnTo>
                <a:lnTo>
                  <a:pt x="583" y="397"/>
                </a:lnTo>
                <a:lnTo>
                  <a:pt x="594" y="360"/>
                </a:lnTo>
                <a:lnTo>
                  <a:pt x="537" y="338"/>
                </a:lnTo>
                <a:cubicBezTo>
                  <a:pt x="535" y="344"/>
                  <a:pt x="535" y="350"/>
                  <a:pt x="535" y="356"/>
                </a:cubicBezTo>
                <a:cubicBezTo>
                  <a:pt x="535" y="403"/>
                  <a:pt x="573" y="442"/>
                  <a:pt x="620" y="442"/>
                </a:cubicBezTo>
                <a:cubicBezTo>
                  <a:pt x="667" y="442"/>
                  <a:pt x="705" y="403"/>
                  <a:pt x="705" y="356"/>
                </a:cubicBezTo>
                <a:cubicBezTo>
                  <a:pt x="705" y="309"/>
                  <a:pt x="667" y="271"/>
                  <a:pt x="620" y="271"/>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2" name="TextBox 11">
            <a:extLst>
              <a:ext uri="{FF2B5EF4-FFF2-40B4-BE49-F238E27FC236}">
                <a16:creationId xmlns:a16="http://schemas.microsoft.com/office/drawing/2014/main" id="{65582260-304B-40DD-A9B2-F21082011B3B}"/>
              </a:ext>
            </a:extLst>
          </p:cNvPr>
          <p:cNvSpPr txBox="1"/>
          <p:nvPr/>
        </p:nvSpPr>
        <p:spPr>
          <a:xfrm>
            <a:off x="5032136" y="797719"/>
            <a:ext cx="6632485" cy="4154984"/>
          </a:xfrm>
          <a:prstGeom prst="rect">
            <a:avLst/>
          </a:prstGeom>
          <a:noFill/>
        </p:spPr>
        <p:txBody>
          <a:bodyPr wrap="square" rtlCol="0">
            <a:spAutoFit/>
          </a:bodyPr>
          <a:lstStyle/>
          <a:p>
            <a:pPr lvl="0">
              <a:defRPr/>
            </a:pPr>
            <a:r>
              <a:rPr lang="en-IN" sz="2400" b="1" dirty="0">
                <a:solidFill>
                  <a:schemeClr val="bg1"/>
                </a:solidFill>
                <a:latin typeface="Gill Sans MT" panose="020B0502020104020203" pitchFamily="34" charset="0"/>
              </a:rPr>
              <a:t>Executive Summary</a:t>
            </a:r>
          </a:p>
          <a:p>
            <a:pPr lvl="0">
              <a:defRPr/>
            </a:pPr>
            <a:endParaRPr lang="en-US" sz="2400" kern="0" dirty="0">
              <a:solidFill>
                <a:schemeClr val="bg1"/>
              </a:solidFill>
              <a:latin typeface="Gill Sans MT" panose="020B0502020104020203" pitchFamily="34" charset="0"/>
            </a:endParaRPr>
          </a:p>
          <a:p>
            <a:pPr algn="just"/>
            <a:endParaRPr lang="en-GB" dirty="0">
              <a:solidFill>
                <a:schemeClr val="bg1"/>
              </a:solidFill>
              <a:latin typeface="Gill Sans MT" panose="020B0502020104020203" pitchFamily="34" charset="0"/>
            </a:endParaRPr>
          </a:p>
          <a:p>
            <a:pPr algn="just"/>
            <a:r>
              <a:rPr lang="en-GB" dirty="0">
                <a:solidFill>
                  <a:schemeClr val="bg1"/>
                </a:solidFill>
                <a:latin typeface="Gill Sans MT" panose="020B0502020104020203" pitchFamily="34" charset="0"/>
              </a:rPr>
              <a:t>In summary, this company serves as the largest online loan marketplace, providing a range of financial products including personal loans, business loans, and medical procedure financing. The primary financial challenge it faces is credit loss, primarily driven by borrowers who default on their loans, </a:t>
            </a:r>
            <a:r>
              <a:rPr lang="en-GB" dirty="0" err="1">
                <a:solidFill>
                  <a:schemeClr val="bg1"/>
                </a:solidFill>
                <a:latin typeface="Gill Sans MT" panose="020B0502020104020203" pitchFamily="34" charset="0"/>
              </a:rPr>
              <a:t>labeled</a:t>
            </a:r>
            <a:r>
              <a:rPr lang="en-GB" dirty="0">
                <a:solidFill>
                  <a:schemeClr val="bg1"/>
                </a:solidFill>
                <a:latin typeface="Gill Sans MT" panose="020B0502020104020203" pitchFamily="34" charset="0"/>
              </a:rPr>
              <a:t> as 'charged-off' customers. To mitigate this risk, the company has embarked on a case study aimed at identifying high-risk loan applicants through exploratory data analysis (EDA). By understanding the critical variables associated with loan defaults, the company can better assess risk and manage its portfolio effectively, ultimately enhancing its financial sustainability and performance.</a:t>
            </a:r>
            <a:endParaRPr lang="en-IN" dirty="0">
              <a:solidFill>
                <a:schemeClr val="bg1"/>
              </a:solidFill>
              <a:latin typeface="Gill Sans MT" panose="020B0502020104020203" pitchFamily="34" charset="0"/>
            </a:endParaRPr>
          </a:p>
        </p:txBody>
      </p:sp>
      <p:sp>
        <p:nvSpPr>
          <p:cNvPr id="2" name="Rectangle 1">
            <a:extLst>
              <a:ext uri="{FF2B5EF4-FFF2-40B4-BE49-F238E27FC236}">
                <a16:creationId xmlns:a16="http://schemas.microsoft.com/office/drawing/2014/main" id="{C3183E1D-2879-8FD2-8A1D-3969EEEFB696}"/>
              </a:ext>
            </a:extLst>
          </p:cNvPr>
          <p:cNvSpPr/>
          <p:nvPr/>
        </p:nvSpPr>
        <p:spPr>
          <a:xfrm>
            <a:off x="441494" y="2414007"/>
            <a:ext cx="2567032" cy="1754326"/>
          </a:xfrm>
          <a:prstGeom prst="rect">
            <a:avLst/>
          </a:prstGeom>
          <a:noFill/>
        </p:spPr>
        <p:txBody>
          <a:bodyPr wrap="square" lIns="91440" tIns="45720" rIns="91440" bIns="45720">
            <a:spAutoFit/>
          </a:bodyPr>
          <a:lstStyle/>
          <a:p>
            <a:pPr algn="ctr"/>
            <a:r>
              <a:rPr lang="en-US" sz="5400" dirty="0">
                <a:ln w="0"/>
                <a:solidFill>
                  <a:schemeClr val="accent1"/>
                </a:solidFill>
                <a:effectLst>
                  <a:outerShdw blurRad="38100" dist="25400" dir="5400000" algn="ctr" rotWithShape="0">
                    <a:srgbClr val="6E747A">
                      <a:alpha val="43000"/>
                    </a:srgbClr>
                  </a:outerShdw>
                </a:effectLst>
                <a:latin typeface="Gill Sans MT" panose="020B0502020104020203" pitchFamily="34" charset="0"/>
              </a:rPr>
              <a:t>Lending Club</a:t>
            </a:r>
          </a:p>
        </p:txBody>
      </p:sp>
    </p:spTree>
    <p:custDataLst>
      <p:tags r:id="rId1"/>
    </p:custDataLst>
    <p:extLst>
      <p:ext uri="{BB962C8B-B14F-4D97-AF65-F5344CB8AC3E}">
        <p14:creationId xmlns:p14="http://schemas.microsoft.com/office/powerpoint/2010/main" val="207800424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270" imgH="270" progId="TCLayout.ActiveDocument.1">
                  <p:embed/>
                </p:oleObj>
              </mc:Choice>
              <mc:Fallback>
                <p:oleObj name="think-cell Slide" r:id="rId8" imgW="270" imgH="270" progId="TCLayout.ActiveDocument.1">
                  <p:embed/>
                  <p:pic>
                    <p:nvPicPr>
                      <p:cNvPr id="10" name="Object 9" hidden="1"/>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103836" y="55939"/>
            <a:ext cx="5293787" cy="732516"/>
          </a:xfrm>
        </p:spPr>
        <p:txBody>
          <a:bodyPr vert="horz" lIns="91440" tIns="45720" rIns="91440" bIns="45720" rtlCol="0" anchor="ctr">
            <a:normAutofit/>
          </a:bodyPr>
          <a:lstStyle/>
          <a:p>
            <a:r>
              <a:rPr lang="en-US" sz="4000" dirty="0">
                <a:latin typeface="Gill Sans MT" panose="020B0502020104020203" pitchFamily="34" charset="0"/>
              </a:rPr>
              <a:t>Abstract &amp; Problems</a:t>
            </a:r>
          </a:p>
        </p:txBody>
      </p:sp>
      <p:sp>
        <p:nvSpPr>
          <p:cNvPr id="4" name="TextBox 3"/>
          <p:cNvSpPr txBox="1"/>
          <p:nvPr/>
        </p:nvSpPr>
        <p:spPr>
          <a:xfrm>
            <a:off x="582458" y="1688812"/>
            <a:ext cx="3682988" cy="43088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200" b="1" i="0" u="none" strike="noStrike" kern="0" cap="none" spc="0" normalizeH="0" baseline="0" noProof="0" dirty="0">
                <a:ln>
                  <a:noFill/>
                </a:ln>
                <a:solidFill>
                  <a:schemeClr val="tx2"/>
                </a:solidFill>
                <a:effectLst/>
                <a:uLnTx/>
                <a:uFillTx/>
                <a:latin typeface="Gill Sans MT" panose="020B0502020104020203" pitchFamily="34" charset="0"/>
              </a:rPr>
              <a:t>Abstract</a:t>
            </a:r>
          </a:p>
        </p:txBody>
      </p:sp>
      <p:sp>
        <p:nvSpPr>
          <p:cNvPr id="5" name="TextBox 4"/>
          <p:cNvSpPr txBox="1"/>
          <p:nvPr/>
        </p:nvSpPr>
        <p:spPr>
          <a:xfrm>
            <a:off x="580166" y="2246949"/>
            <a:ext cx="3676164" cy="3008631"/>
          </a:xfrm>
          <a:prstGeom prst="rect">
            <a:avLst/>
          </a:prstGeom>
          <a:noFill/>
        </p:spPr>
        <p:txBody>
          <a:bodyPr wrap="square" rtlCol="0">
            <a:noAutofit/>
          </a:bodyPr>
          <a:lstStyle/>
          <a:p>
            <a:pPr lvl="0" algn="just">
              <a:defRPr/>
            </a:pPr>
            <a:r>
              <a:rPr lang="en-GB" sz="1400" kern="0" dirty="0">
                <a:solidFill>
                  <a:sysClr val="windowText" lastClr="000000"/>
                </a:solidFill>
                <a:latin typeface="Gill Sans MT" panose="020B0502020104020203" pitchFamily="34" charset="0"/>
              </a:rPr>
              <a:t>This case study addresses a critical business problem faced by a consumer finance company specializing in lending various types of loans to urban customers. The primary issue pertains to making loan approval decisions based on applicant profiles, balancing the risks of potential financial loss. The company aims to minimize two types of risks: denying loans to applicants who would repay (resulting in lost business) and approving loans to applicants who might default (leading to financial losses). To tackle this challenge, the study employs Exploratory Data Analysis (EDA) to understand the influence of consumer and loan attributes on the likelihood of loan default.</a:t>
            </a:r>
            <a:endParaRPr kumimoji="0" lang="en-US" sz="1400" b="0" i="0" u="none" strike="noStrike" kern="0" cap="none" spc="0" normalizeH="0" baseline="0" noProof="0" dirty="0">
              <a:ln>
                <a:noFill/>
              </a:ln>
              <a:solidFill>
                <a:sysClr val="windowText" lastClr="000000"/>
              </a:solidFill>
              <a:effectLst/>
              <a:uLnTx/>
              <a:uFillTx/>
              <a:latin typeface="Gill Sans MT" panose="020B0502020104020203" pitchFamily="34" charset="0"/>
            </a:endParaRPr>
          </a:p>
        </p:txBody>
      </p:sp>
      <p:sp>
        <p:nvSpPr>
          <p:cNvPr id="18" name="TextBox 17"/>
          <p:cNvSpPr txBox="1"/>
          <p:nvPr/>
        </p:nvSpPr>
        <p:spPr>
          <a:xfrm>
            <a:off x="7906236" y="1709564"/>
            <a:ext cx="3682988" cy="43088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200" b="1" i="0" u="none" strike="noStrike" kern="0" cap="none" spc="0" normalizeH="0" baseline="0" noProof="0" dirty="0">
                <a:ln>
                  <a:noFill/>
                </a:ln>
                <a:solidFill>
                  <a:schemeClr val="accent1"/>
                </a:solidFill>
                <a:effectLst/>
                <a:uLnTx/>
                <a:uFillTx/>
                <a:latin typeface="Gill Sans MT" panose="020B0502020104020203" pitchFamily="34" charset="0"/>
              </a:rPr>
              <a:t>Business Problem</a:t>
            </a:r>
          </a:p>
        </p:txBody>
      </p:sp>
      <p:sp>
        <p:nvSpPr>
          <p:cNvPr id="19" name="TextBox 18"/>
          <p:cNvSpPr txBox="1"/>
          <p:nvPr/>
        </p:nvSpPr>
        <p:spPr>
          <a:xfrm>
            <a:off x="7906236" y="2109673"/>
            <a:ext cx="3676164" cy="1441395"/>
          </a:xfrm>
          <a:prstGeom prst="rect">
            <a:avLst/>
          </a:prstGeom>
          <a:noFill/>
        </p:spPr>
        <p:txBody>
          <a:bodyPr wrap="square" rtlCol="0">
            <a:noAutofit/>
          </a:bodyPr>
          <a:lstStyle/>
          <a:p>
            <a:pPr lvl="0" algn="just">
              <a:defRPr/>
            </a:pPr>
            <a:r>
              <a:rPr lang="en-GB" sz="1400" kern="0" dirty="0">
                <a:solidFill>
                  <a:sysClr val="windowText" lastClr="000000"/>
                </a:solidFill>
                <a:latin typeface="Gill Sans MT" panose="020B0502020104020203" pitchFamily="34" charset="0"/>
              </a:rPr>
              <a:t>The company must balance loan approvals to minimize financial loss by identifying high-risk applicants through EDA for effective risk assessment and portfolio management.</a:t>
            </a:r>
            <a:endParaRPr kumimoji="0" lang="en-US" sz="1400" b="0" i="0" u="none" strike="noStrike" kern="0" cap="none" spc="0" normalizeH="0" baseline="0" noProof="0" dirty="0">
              <a:ln>
                <a:noFill/>
              </a:ln>
              <a:solidFill>
                <a:sysClr val="windowText" lastClr="000000"/>
              </a:solidFill>
              <a:effectLst/>
              <a:uLnTx/>
              <a:uFillTx/>
              <a:latin typeface="Gill Sans MT" panose="020B0502020104020203" pitchFamily="34" charset="0"/>
            </a:endParaRPr>
          </a:p>
        </p:txBody>
      </p:sp>
      <p:sp>
        <p:nvSpPr>
          <p:cNvPr id="21" name="TextBox 20"/>
          <p:cNvSpPr txBox="1"/>
          <p:nvPr/>
        </p:nvSpPr>
        <p:spPr>
          <a:xfrm>
            <a:off x="7928846" y="3745028"/>
            <a:ext cx="3682988" cy="43088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200" b="1" i="0" u="none" strike="noStrike" kern="0" cap="none" spc="0" normalizeH="0" baseline="0" noProof="0" dirty="0">
                <a:ln>
                  <a:noFill/>
                </a:ln>
                <a:solidFill>
                  <a:schemeClr val="accent2"/>
                </a:solidFill>
                <a:effectLst/>
                <a:uLnTx/>
                <a:uFillTx/>
                <a:latin typeface="Gill Sans MT" panose="020B0502020104020203" pitchFamily="34" charset="0"/>
              </a:rPr>
              <a:t>Analytics Problem</a:t>
            </a:r>
          </a:p>
        </p:txBody>
      </p:sp>
      <p:sp>
        <p:nvSpPr>
          <p:cNvPr id="22" name="TextBox 21"/>
          <p:cNvSpPr txBox="1"/>
          <p:nvPr/>
        </p:nvSpPr>
        <p:spPr>
          <a:xfrm>
            <a:off x="7942494" y="4145137"/>
            <a:ext cx="3761076" cy="2146521"/>
          </a:xfrm>
          <a:prstGeom prst="rect">
            <a:avLst/>
          </a:prstGeom>
          <a:noFill/>
        </p:spPr>
        <p:txBody>
          <a:bodyPr wrap="square" rtlCol="0">
            <a:noAutofit/>
          </a:bodyPr>
          <a:lstStyle/>
          <a:p>
            <a:pPr lvl="0" algn="just">
              <a:defRPr/>
            </a:pPr>
            <a:r>
              <a:rPr lang="en-GB" sz="1400" kern="0" dirty="0">
                <a:solidFill>
                  <a:sysClr val="windowText" lastClr="000000"/>
                </a:solidFill>
                <a:latin typeface="Gill Sans MT" panose="020B0502020104020203" pitchFamily="34" charset="0"/>
              </a:rPr>
              <a:t>The main challenge is conducting EDA on a loan dataset to identify key variables indicating loan default potential, offering insights for informed loan decisions.</a:t>
            </a:r>
            <a:endParaRPr kumimoji="0" lang="en-US" sz="1400" b="0" i="0" u="none" strike="noStrike" kern="0" cap="none" spc="0" normalizeH="0" baseline="0" noProof="0" dirty="0">
              <a:ln>
                <a:noFill/>
              </a:ln>
              <a:solidFill>
                <a:sysClr val="windowText" lastClr="000000"/>
              </a:solidFill>
              <a:effectLst/>
              <a:uLnTx/>
              <a:uFillTx/>
              <a:latin typeface="Gill Sans MT" panose="020B0502020104020203" pitchFamily="34" charset="0"/>
            </a:endParaRPr>
          </a:p>
        </p:txBody>
      </p:sp>
      <p:sp>
        <p:nvSpPr>
          <p:cNvPr id="17" name="Forme libre : forme 39">
            <a:extLst>
              <a:ext uri="{FF2B5EF4-FFF2-40B4-BE49-F238E27FC236}">
                <a16:creationId xmlns:a16="http://schemas.microsoft.com/office/drawing/2014/main" id="{7DACD22E-3066-4F0A-B140-9F8DA1AB3454}"/>
              </a:ext>
            </a:extLst>
          </p:cNvPr>
          <p:cNvSpPr>
            <a:spLocks noChangeAspect="1"/>
          </p:cNvSpPr>
          <p:nvPr>
            <p:custDataLst>
              <p:tags r:id="rId3"/>
            </p:custDataLst>
          </p:nvPr>
        </p:nvSpPr>
        <p:spPr bwMode="auto">
          <a:xfrm flipH="1">
            <a:off x="5826539" y="3908781"/>
            <a:ext cx="1596324" cy="1765326"/>
          </a:xfrm>
          <a:custGeom>
            <a:avLst/>
            <a:gdLst>
              <a:gd name="connsiteX0" fmla="*/ 1323451 w 1596324"/>
              <a:gd name="connsiteY0" fmla="*/ 0 h 1765326"/>
              <a:gd name="connsiteX1" fmla="*/ 547864 w 1596324"/>
              <a:gd name="connsiteY1" fmla="*/ 0 h 1765326"/>
              <a:gd name="connsiteX2" fmla="*/ 574093 w 1596324"/>
              <a:gd name="connsiteY2" fmla="*/ 53192 h 1765326"/>
              <a:gd name="connsiteX3" fmla="*/ 611462 w 1596324"/>
              <a:gd name="connsiteY3" fmla="*/ 220651 h 1765326"/>
              <a:gd name="connsiteX4" fmla="*/ 589956 w 1596324"/>
              <a:gd name="connsiteY4" fmla="*/ 239685 h 1765326"/>
              <a:gd name="connsiteX5" fmla="*/ 589356 w 1596324"/>
              <a:gd name="connsiteY5" fmla="*/ 239915 h 1765326"/>
              <a:gd name="connsiteX6" fmla="*/ 583131 w 1596324"/>
              <a:gd name="connsiteY6" fmla="*/ 245424 h 1765326"/>
              <a:gd name="connsiteX7" fmla="*/ 286681 w 1596324"/>
              <a:gd name="connsiteY7" fmla="*/ 235888 h 1765326"/>
              <a:gd name="connsiteX8" fmla="*/ 316115 w 1596324"/>
              <a:gd name="connsiteY8" fmla="*/ 71907 h 1765326"/>
              <a:gd name="connsiteX9" fmla="*/ 348377 w 1596324"/>
              <a:gd name="connsiteY9" fmla="*/ 0 h 1765326"/>
              <a:gd name="connsiteX10" fmla="*/ 129888 w 1596324"/>
              <a:gd name="connsiteY10" fmla="*/ 0 h 1765326"/>
              <a:gd name="connsiteX11" fmla="*/ 130299 w 1596324"/>
              <a:gd name="connsiteY11" fmla="*/ 1272 h 1765326"/>
              <a:gd name="connsiteX12" fmla="*/ 201013 w 1596324"/>
              <a:gd name="connsiteY12" fmla="*/ 132423 h 1765326"/>
              <a:gd name="connsiteX13" fmla="*/ 274347 w 1596324"/>
              <a:gd name="connsiteY13" fmla="*/ 251769 h 1765326"/>
              <a:gd name="connsiteX14" fmla="*/ 0 w 1596324"/>
              <a:gd name="connsiteY14" fmla="*/ 956046 h 1765326"/>
              <a:gd name="connsiteX15" fmla="*/ 762148 w 1596324"/>
              <a:gd name="connsiteY15" fmla="*/ 1270151 h 1765326"/>
              <a:gd name="connsiteX16" fmla="*/ 1315637 w 1596324"/>
              <a:gd name="connsiteY16" fmla="*/ 1763648 h 1765326"/>
              <a:gd name="connsiteX17" fmla="*/ 1323451 w 1596324"/>
              <a:gd name="connsiteY17" fmla="*/ 1765326 h 1765326"/>
              <a:gd name="connsiteX18" fmla="*/ 1323451 w 1596324"/>
              <a:gd name="connsiteY18" fmla="*/ 970600 h 1765326"/>
              <a:gd name="connsiteX19" fmla="*/ 1330275 w 1596324"/>
              <a:gd name="connsiteY19" fmla="*/ 973662 h 1765326"/>
              <a:gd name="connsiteX20" fmla="*/ 1330275 w 1596324"/>
              <a:gd name="connsiteY20" fmla="*/ 964343 h 1765326"/>
              <a:gd name="connsiteX21" fmla="*/ 1400917 w 1596324"/>
              <a:gd name="connsiteY21" fmla="*/ 996037 h 1765326"/>
              <a:gd name="connsiteX22" fmla="*/ 1537663 w 1596324"/>
              <a:gd name="connsiteY22" fmla="*/ 1032094 h 1765326"/>
              <a:gd name="connsiteX23" fmla="*/ 1564568 w 1596324"/>
              <a:gd name="connsiteY23" fmla="*/ 1025552 h 1765326"/>
              <a:gd name="connsiteX24" fmla="*/ 1576649 w 1596324"/>
              <a:gd name="connsiteY24" fmla="*/ 1009968 h 1765326"/>
              <a:gd name="connsiteX25" fmla="*/ 1549841 w 1596324"/>
              <a:gd name="connsiteY25" fmla="*/ 714340 h 1765326"/>
              <a:gd name="connsiteX26" fmla="*/ 1382382 w 1596324"/>
              <a:gd name="connsiteY26" fmla="*/ 751709 h 1765326"/>
              <a:gd name="connsiteX27" fmla="*/ 1323451 w 1596324"/>
              <a:gd name="connsiteY27" fmla="*/ 780767 h 1765326"/>
              <a:gd name="connsiteX28" fmla="*/ 1323451 w 1596324"/>
              <a:gd name="connsiteY28" fmla="*/ 0 h 1765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596324" h="1765326">
                <a:moveTo>
                  <a:pt x="1323451" y="0"/>
                </a:moveTo>
                <a:lnTo>
                  <a:pt x="547864" y="0"/>
                </a:lnTo>
                <a:lnTo>
                  <a:pt x="574093" y="53192"/>
                </a:lnTo>
                <a:cubicBezTo>
                  <a:pt x="604973" y="122526"/>
                  <a:pt x="627608" y="192037"/>
                  <a:pt x="611462" y="220651"/>
                </a:cubicBezTo>
                <a:cubicBezTo>
                  <a:pt x="607426" y="227804"/>
                  <a:pt x="599974" y="234154"/>
                  <a:pt x="589956" y="239685"/>
                </a:cubicBezTo>
                <a:lnTo>
                  <a:pt x="589356" y="239915"/>
                </a:lnTo>
                <a:lnTo>
                  <a:pt x="583131" y="245424"/>
                </a:lnTo>
                <a:cubicBezTo>
                  <a:pt x="513004" y="284141"/>
                  <a:pt x="317127" y="282734"/>
                  <a:pt x="286681" y="235888"/>
                </a:cubicBezTo>
                <a:cubicBezTo>
                  <a:pt x="269283" y="209119"/>
                  <a:pt x="288506" y="140743"/>
                  <a:pt x="316115" y="71907"/>
                </a:cubicBezTo>
                <a:lnTo>
                  <a:pt x="348377" y="0"/>
                </a:lnTo>
                <a:lnTo>
                  <a:pt x="129888" y="0"/>
                </a:lnTo>
                <a:lnTo>
                  <a:pt x="130299" y="1272"/>
                </a:lnTo>
                <a:cubicBezTo>
                  <a:pt x="132918" y="24879"/>
                  <a:pt x="201013" y="132423"/>
                  <a:pt x="201013" y="132423"/>
                </a:cubicBezTo>
                <a:lnTo>
                  <a:pt x="274347" y="251769"/>
                </a:lnTo>
                <a:cubicBezTo>
                  <a:pt x="263871" y="559972"/>
                  <a:pt x="99525" y="670139"/>
                  <a:pt x="0" y="956046"/>
                </a:cubicBezTo>
                <a:cubicBezTo>
                  <a:pt x="152561" y="807191"/>
                  <a:pt x="479289" y="983588"/>
                  <a:pt x="762148" y="1270151"/>
                </a:cubicBezTo>
                <a:cubicBezTo>
                  <a:pt x="1117359" y="1630404"/>
                  <a:pt x="1247239" y="1737322"/>
                  <a:pt x="1315637" y="1763648"/>
                </a:cubicBezTo>
                <a:lnTo>
                  <a:pt x="1323451" y="1765326"/>
                </a:lnTo>
                <a:lnTo>
                  <a:pt x="1323451" y="970600"/>
                </a:lnTo>
                <a:lnTo>
                  <a:pt x="1330275" y="973662"/>
                </a:lnTo>
                <a:lnTo>
                  <a:pt x="1330275" y="964343"/>
                </a:lnTo>
                <a:lnTo>
                  <a:pt x="1400917" y="996037"/>
                </a:lnTo>
                <a:cubicBezTo>
                  <a:pt x="1452544" y="1016744"/>
                  <a:pt x="1503912" y="1032734"/>
                  <a:pt x="1537663" y="1032094"/>
                </a:cubicBezTo>
                <a:lnTo>
                  <a:pt x="1564568" y="1025552"/>
                </a:lnTo>
                <a:lnTo>
                  <a:pt x="1576649" y="1009968"/>
                </a:lnTo>
                <a:cubicBezTo>
                  <a:pt x="1610621" y="938199"/>
                  <a:pt x="1599914" y="742596"/>
                  <a:pt x="1549841" y="714340"/>
                </a:cubicBezTo>
                <a:cubicBezTo>
                  <a:pt x="1521227" y="698194"/>
                  <a:pt x="1451716" y="720829"/>
                  <a:pt x="1382382" y="751709"/>
                </a:cubicBezTo>
                <a:lnTo>
                  <a:pt x="1323451" y="780767"/>
                </a:lnTo>
                <a:lnTo>
                  <a:pt x="1323451" y="0"/>
                </a:lnTo>
                <a:close/>
              </a:path>
            </a:pathLst>
          </a:custGeom>
          <a:solidFill>
            <a:schemeClr val="accent2"/>
          </a:solidFill>
          <a:ln w="38100" cap="flat">
            <a:solidFill>
              <a:schemeClr val="bg1"/>
            </a:solidFill>
            <a:prstDash val="solid"/>
            <a:miter lim="800000"/>
            <a:headEnd/>
            <a:tailEnd/>
          </a:ln>
        </p:spPr>
        <p:txBody>
          <a:bodyPr vert="horz" wrap="square" lIns="91440" tIns="45720" rIns="91440" bIns="45720" numCol="1" anchor="t" anchorCtr="0" compatLnSpc="1">
            <a:prstTxWarp prst="textNoShape">
              <a:avLst/>
            </a:prstTxWarp>
            <a:noAutofit/>
          </a:bodyPr>
          <a:lstStyle/>
          <a:p>
            <a:endParaRPr lang="en-US" dirty="0"/>
          </a:p>
        </p:txBody>
      </p:sp>
      <p:sp>
        <p:nvSpPr>
          <p:cNvPr id="26" name="Forme libre : forme 40">
            <a:extLst>
              <a:ext uri="{FF2B5EF4-FFF2-40B4-BE49-F238E27FC236}">
                <a16:creationId xmlns:a16="http://schemas.microsoft.com/office/drawing/2014/main" id="{7C82F1C6-C98D-4690-A559-3EC4CD2C7C96}"/>
              </a:ext>
            </a:extLst>
          </p:cNvPr>
          <p:cNvSpPr>
            <a:spLocks noChangeAspect="1"/>
          </p:cNvSpPr>
          <p:nvPr>
            <p:custDataLst>
              <p:tags r:id="rId4"/>
            </p:custDataLst>
          </p:nvPr>
        </p:nvSpPr>
        <p:spPr bwMode="auto">
          <a:xfrm flipH="1">
            <a:off x="4793076" y="3637172"/>
            <a:ext cx="1299513" cy="2042781"/>
          </a:xfrm>
          <a:custGeom>
            <a:avLst/>
            <a:gdLst>
              <a:gd name="connsiteX0" fmla="*/ 870028 w 1299513"/>
              <a:gd name="connsiteY0" fmla="*/ 199 h 2042781"/>
              <a:gd name="connsiteX1" fmla="*/ 770400 w 1299513"/>
              <a:gd name="connsiteY1" fmla="*/ 13329 h 2042781"/>
              <a:gd name="connsiteX2" fmla="*/ 734097 w 1299513"/>
              <a:gd name="connsiteY2" fmla="*/ 27220 h 2042781"/>
              <a:gd name="connsiteX3" fmla="*/ 718814 w 1299513"/>
              <a:gd name="connsiteY3" fmla="*/ 40746 h 2042781"/>
              <a:gd name="connsiteX4" fmla="*/ 756183 w 1299513"/>
              <a:gd name="connsiteY4" fmla="*/ 208205 h 2042781"/>
              <a:gd name="connsiteX5" fmla="*/ 785241 w 1299513"/>
              <a:gd name="connsiteY5" fmla="*/ 267136 h 2042781"/>
              <a:gd name="connsiteX6" fmla="*/ 775588 w 1299513"/>
              <a:gd name="connsiteY6" fmla="*/ 267136 h 2042781"/>
              <a:gd name="connsiteX7" fmla="*/ 777793 w 1299513"/>
              <a:gd name="connsiteY7" fmla="*/ 271609 h 2042781"/>
              <a:gd name="connsiteX8" fmla="*/ 0 w 1299513"/>
              <a:gd name="connsiteY8" fmla="*/ 271609 h 2042781"/>
              <a:gd name="connsiteX9" fmla="*/ 0 w 1299513"/>
              <a:gd name="connsiteY9" fmla="*/ 1044929 h 2042781"/>
              <a:gd name="connsiteX10" fmla="*/ 57666 w 1299513"/>
              <a:gd name="connsiteY10" fmla="*/ 1016494 h 2042781"/>
              <a:gd name="connsiteX11" fmla="*/ 225125 w 1299513"/>
              <a:gd name="connsiteY11" fmla="*/ 979125 h 2042781"/>
              <a:gd name="connsiteX12" fmla="*/ 234623 w 1299513"/>
              <a:gd name="connsiteY12" fmla="*/ 1297081 h 2042781"/>
              <a:gd name="connsiteX13" fmla="*/ 234293 w 1299513"/>
              <a:gd name="connsiteY13" fmla="*/ 1297162 h 2042781"/>
              <a:gd name="connsiteX14" fmla="*/ 229064 w 1299513"/>
              <a:gd name="connsiteY14" fmla="*/ 1303906 h 2042781"/>
              <a:gd name="connsiteX15" fmla="*/ 65083 w 1299513"/>
              <a:gd name="connsiteY15" fmla="*/ 1274472 h 2042781"/>
              <a:gd name="connsiteX16" fmla="*/ 0 w 1299513"/>
              <a:gd name="connsiteY16" fmla="*/ 1245272 h 2042781"/>
              <a:gd name="connsiteX17" fmla="*/ 0 w 1299513"/>
              <a:gd name="connsiteY17" fmla="*/ 2038400 h 2042781"/>
              <a:gd name="connsiteX18" fmla="*/ 20335 w 1299513"/>
              <a:gd name="connsiteY18" fmla="*/ 2042765 h 2042781"/>
              <a:gd name="connsiteX19" fmla="*/ 77473 w 1299513"/>
              <a:gd name="connsiteY19" fmla="*/ 2032918 h 2042781"/>
              <a:gd name="connsiteX20" fmla="*/ 223486 w 1299513"/>
              <a:gd name="connsiteY20" fmla="*/ 1575860 h 2042781"/>
              <a:gd name="connsiteX21" fmla="*/ 369499 w 1299513"/>
              <a:gd name="connsiteY21" fmla="*/ 1203393 h 2042781"/>
              <a:gd name="connsiteX22" fmla="*/ 863193 w 1299513"/>
              <a:gd name="connsiteY22" fmla="*/ 1296510 h 2042781"/>
              <a:gd name="connsiteX23" fmla="*/ 1036706 w 1299513"/>
              <a:gd name="connsiteY23" fmla="*/ 1220443 h 2042781"/>
              <a:gd name="connsiteX24" fmla="*/ 1091707 w 1299513"/>
              <a:gd name="connsiteY24" fmla="*/ 1070276 h 2042781"/>
              <a:gd name="connsiteX25" fmla="*/ 1034742 w 1299513"/>
              <a:gd name="connsiteY25" fmla="*/ 874206 h 2042781"/>
              <a:gd name="connsiteX26" fmla="*/ 1114624 w 1299513"/>
              <a:gd name="connsiteY26" fmla="*/ 823058 h 2042781"/>
              <a:gd name="connsiteX27" fmla="*/ 1045873 w 1299513"/>
              <a:gd name="connsiteY27" fmla="*/ 729941 h 2042781"/>
              <a:gd name="connsiteX28" fmla="*/ 1114624 w 1299513"/>
              <a:gd name="connsiteY28" fmla="*/ 678792 h 2042781"/>
              <a:gd name="connsiteX29" fmla="*/ 1068790 w 1299513"/>
              <a:gd name="connsiteY29" fmla="*/ 451247 h 2042781"/>
              <a:gd name="connsiteX30" fmla="*/ 1251470 w 1299513"/>
              <a:gd name="connsiteY30" fmla="*/ 400098 h 2042781"/>
              <a:gd name="connsiteX31" fmla="*/ 1297303 w 1299513"/>
              <a:gd name="connsiteY31" fmla="*/ 276161 h 2042781"/>
              <a:gd name="connsiteX32" fmla="*/ 1294070 w 1299513"/>
              <a:gd name="connsiteY32" fmla="*/ 271609 h 2042781"/>
              <a:gd name="connsiteX33" fmla="*/ 968817 w 1299513"/>
              <a:gd name="connsiteY33" fmla="*/ 271609 h 2042781"/>
              <a:gd name="connsiteX34" fmla="*/ 1000511 w 1299513"/>
              <a:gd name="connsiteY34" fmla="*/ 200967 h 2042781"/>
              <a:gd name="connsiteX35" fmla="*/ 1029945 w 1299513"/>
              <a:gd name="connsiteY35" fmla="*/ 36986 h 2042781"/>
              <a:gd name="connsiteX36" fmla="*/ 870028 w 1299513"/>
              <a:gd name="connsiteY36" fmla="*/ 199 h 2042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299513" h="2042781">
                <a:moveTo>
                  <a:pt x="870028" y="199"/>
                </a:moveTo>
                <a:cubicBezTo>
                  <a:pt x="834477" y="1155"/>
                  <a:pt x="799004" y="5574"/>
                  <a:pt x="770400" y="13329"/>
                </a:cubicBezTo>
                <a:lnTo>
                  <a:pt x="734097" y="27220"/>
                </a:lnTo>
                <a:lnTo>
                  <a:pt x="718814" y="40746"/>
                </a:lnTo>
                <a:cubicBezTo>
                  <a:pt x="702668" y="69360"/>
                  <a:pt x="725303" y="138871"/>
                  <a:pt x="756183" y="208205"/>
                </a:cubicBezTo>
                <a:lnTo>
                  <a:pt x="785241" y="267136"/>
                </a:lnTo>
                <a:lnTo>
                  <a:pt x="775588" y="267136"/>
                </a:lnTo>
                <a:lnTo>
                  <a:pt x="777793" y="271609"/>
                </a:lnTo>
                <a:lnTo>
                  <a:pt x="0" y="271609"/>
                </a:lnTo>
                <a:lnTo>
                  <a:pt x="0" y="1044929"/>
                </a:lnTo>
                <a:lnTo>
                  <a:pt x="57666" y="1016494"/>
                </a:lnTo>
                <a:cubicBezTo>
                  <a:pt x="127000" y="985614"/>
                  <a:pt x="196511" y="962979"/>
                  <a:pt x="225125" y="979125"/>
                </a:cubicBezTo>
                <a:cubicBezTo>
                  <a:pt x="282351" y="1011417"/>
                  <a:pt x="288161" y="1262286"/>
                  <a:pt x="234623" y="1297081"/>
                </a:cubicBezTo>
                <a:lnTo>
                  <a:pt x="234293" y="1297162"/>
                </a:lnTo>
                <a:lnTo>
                  <a:pt x="229064" y="1303906"/>
                </a:lnTo>
                <a:cubicBezTo>
                  <a:pt x="202295" y="1321304"/>
                  <a:pt x="133919" y="1302081"/>
                  <a:pt x="65083" y="1274472"/>
                </a:cubicBezTo>
                <a:lnTo>
                  <a:pt x="0" y="1245272"/>
                </a:lnTo>
                <a:lnTo>
                  <a:pt x="0" y="2038400"/>
                </a:lnTo>
                <a:lnTo>
                  <a:pt x="20335" y="2042765"/>
                </a:lnTo>
                <a:cubicBezTo>
                  <a:pt x="40479" y="2043164"/>
                  <a:pt x="56030" y="2036197"/>
                  <a:pt x="77473" y="2032918"/>
                </a:cubicBezTo>
                <a:cubicBezTo>
                  <a:pt x="97771" y="1824390"/>
                  <a:pt x="66997" y="1739798"/>
                  <a:pt x="223486" y="1575860"/>
                </a:cubicBezTo>
                <a:cubicBezTo>
                  <a:pt x="222177" y="1351593"/>
                  <a:pt x="306642" y="1298477"/>
                  <a:pt x="369499" y="1203393"/>
                </a:cubicBezTo>
                <a:cubicBezTo>
                  <a:pt x="565274" y="1273559"/>
                  <a:pt x="680513" y="1306346"/>
                  <a:pt x="863193" y="1296510"/>
                </a:cubicBezTo>
                <a:cubicBezTo>
                  <a:pt x="952241" y="1291264"/>
                  <a:pt x="977123" y="1293887"/>
                  <a:pt x="1036706" y="1220443"/>
                </a:cubicBezTo>
                <a:cubicBezTo>
                  <a:pt x="1062242" y="1184376"/>
                  <a:pt x="1102838" y="1141097"/>
                  <a:pt x="1091707" y="1070276"/>
                </a:cubicBezTo>
                <a:lnTo>
                  <a:pt x="1034742" y="874206"/>
                </a:lnTo>
                <a:lnTo>
                  <a:pt x="1114624" y="823058"/>
                </a:lnTo>
                <a:lnTo>
                  <a:pt x="1045873" y="729941"/>
                </a:lnTo>
                <a:lnTo>
                  <a:pt x="1114624" y="678792"/>
                </a:lnTo>
                <a:cubicBezTo>
                  <a:pt x="1085814" y="628299"/>
                  <a:pt x="1050456" y="590266"/>
                  <a:pt x="1068790" y="451247"/>
                </a:cubicBezTo>
                <a:lnTo>
                  <a:pt x="1251470" y="400098"/>
                </a:lnTo>
                <a:cubicBezTo>
                  <a:pt x="1295339" y="377803"/>
                  <a:pt x="1304506" y="332556"/>
                  <a:pt x="1297303" y="276161"/>
                </a:cubicBezTo>
                <a:lnTo>
                  <a:pt x="1294070" y="271609"/>
                </a:lnTo>
                <a:lnTo>
                  <a:pt x="968817" y="271609"/>
                </a:lnTo>
                <a:lnTo>
                  <a:pt x="1000511" y="200967"/>
                </a:lnTo>
                <a:cubicBezTo>
                  <a:pt x="1028120" y="132131"/>
                  <a:pt x="1047343" y="63755"/>
                  <a:pt x="1029945" y="36986"/>
                </a:cubicBezTo>
                <a:cubicBezTo>
                  <a:pt x="1012548" y="10217"/>
                  <a:pt x="941132" y="-1715"/>
                  <a:pt x="870028" y="199"/>
                </a:cubicBezTo>
                <a:close/>
              </a:path>
            </a:pathLst>
          </a:custGeom>
          <a:solidFill>
            <a:schemeClr val="accent1">
              <a:lumMod val="50000"/>
            </a:schemeClr>
          </a:solidFill>
          <a:ln w="38100" cap="flat">
            <a:solidFill>
              <a:schemeClr val="bg1"/>
            </a:solidFill>
            <a:prstDash val="solid"/>
            <a:miter lim="800000"/>
            <a:headEnd/>
            <a:tailEnd/>
          </a:ln>
        </p:spPr>
        <p:txBody>
          <a:bodyPr vert="horz" wrap="square" lIns="91440" tIns="45720" rIns="91440" bIns="45720" numCol="1" anchor="t" anchorCtr="0" compatLnSpc="1">
            <a:prstTxWarp prst="textNoShape">
              <a:avLst/>
            </a:prstTxWarp>
            <a:noAutofit/>
          </a:bodyPr>
          <a:lstStyle/>
          <a:p>
            <a:endParaRPr lang="en-US" dirty="0"/>
          </a:p>
        </p:txBody>
      </p:sp>
      <p:sp>
        <p:nvSpPr>
          <p:cNvPr id="28" name="Forme libre : forme 42">
            <a:extLst>
              <a:ext uri="{FF2B5EF4-FFF2-40B4-BE49-F238E27FC236}">
                <a16:creationId xmlns:a16="http://schemas.microsoft.com/office/drawing/2014/main" id="{0A5B2911-3CCD-41EF-AED2-7F055D119E25}"/>
              </a:ext>
            </a:extLst>
          </p:cNvPr>
          <p:cNvSpPr>
            <a:spLocks noChangeAspect="1"/>
          </p:cNvSpPr>
          <p:nvPr>
            <p:custDataLst>
              <p:tags r:id="rId5"/>
            </p:custDataLst>
          </p:nvPr>
        </p:nvSpPr>
        <p:spPr bwMode="auto">
          <a:xfrm flipH="1">
            <a:off x="4801694" y="2119699"/>
            <a:ext cx="1563768" cy="1784608"/>
          </a:xfrm>
          <a:custGeom>
            <a:avLst/>
            <a:gdLst>
              <a:gd name="connsiteX0" fmla="*/ 716034 w 1563768"/>
              <a:gd name="connsiteY0" fmla="*/ 318 h 1784608"/>
              <a:gd name="connsiteX1" fmla="*/ 645647 w 1563768"/>
              <a:gd name="connsiteY1" fmla="*/ 19826 h 1784608"/>
              <a:gd name="connsiteX2" fmla="*/ 284216 w 1563768"/>
              <a:gd name="connsiteY2" fmla="*/ 48023 h 1784608"/>
              <a:gd name="connsiteX3" fmla="*/ 272874 w 1563768"/>
              <a:gd name="connsiteY3" fmla="*/ 50658 h 1784608"/>
              <a:gd name="connsiteX4" fmla="*/ 272874 w 1563768"/>
              <a:gd name="connsiteY4" fmla="*/ 814007 h 1784608"/>
              <a:gd name="connsiteX5" fmla="*/ 266050 w 1563768"/>
              <a:gd name="connsiteY5" fmla="*/ 810945 h 1784608"/>
              <a:gd name="connsiteX6" fmla="*/ 266050 w 1563768"/>
              <a:gd name="connsiteY6" fmla="*/ 820265 h 1784608"/>
              <a:gd name="connsiteX7" fmla="*/ 195408 w 1563768"/>
              <a:gd name="connsiteY7" fmla="*/ 788571 h 1784608"/>
              <a:gd name="connsiteX8" fmla="*/ 58662 w 1563768"/>
              <a:gd name="connsiteY8" fmla="*/ 752514 h 1784608"/>
              <a:gd name="connsiteX9" fmla="*/ 31756 w 1563768"/>
              <a:gd name="connsiteY9" fmla="*/ 759057 h 1784608"/>
              <a:gd name="connsiteX10" fmla="*/ 19676 w 1563768"/>
              <a:gd name="connsiteY10" fmla="*/ 774639 h 1784608"/>
              <a:gd name="connsiteX11" fmla="*/ 46484 w 1563768"/>
              <a:gd name="connsiteY11" fmla="*/ 1070267 h 1784608"/>
              <a:gd name="connsiteX12" fmla="*/ 213943 w 1563768"/>
              <a:gd name="connsiteY12" fmla="*/ 1032898 h 1784608"/>
              <a:gd name="connsiteX13" fmla="*/ 272874 w 1563768"/>
              <a:gd name="connsiteY13" fmla="*/ 1003840 h 1784608"/>
              <a:gd name="connsiteX14" fmla="*/ 272874 w 1563768"/>
              <a:gd name="connsiteY14" fmla="*/ 1784608 h 1784608"/>
              <a:gd name="connsiteX15" fmla="*/ 1048462 w 1563768"/>
              <a:gd name="connsiteY15" fmla="*/ 1784608 h 1784608"/>
              <a:gd name="connsiteX16" fmla="*/ 1022232 w 1563768"/>
              <a:gd name="connsiteY16" fmla="*/ 1731415 h 1784608"/>
              <a:gd name="connsiteX17" fmla="*/ 984863 w 1563768"/>
              <a:gd name="connsiteY17" fmla="*/ 1563956 h 1784608"/>
              <a:gd name="connsiteX18" fmla="*/ 1006369 w 1563768"/>
              <a:gd name="connsiteY18" fmla="*/ 1544922 h 1784608"/>
              <a:gd name="connsiteX19" fmla="*/ 1006971 w 1563768"/>
              <a:gd name="connsiteY19" fmla="*/ 1544692 h 1784608"/>
              <a:gd name="connsiteX20" fmla="*/ 1013194 w 1563768"/>
              <a:gd name="connsiteY20" fmla="*/ 1539184 h 1784608"/>
              <a:gd name="connsiteX21" fmla="*/ 1149728 w 1563768"/>
              <a:gd name="connsiteY21" fmla="*/ 1511932 h 1784608"/>
              <a:gd name="connsiteX22" fmla="*/ 1309644 w 1563768"/>
              <a:gd name="connsiteY22" fmla="*/ 1548720 h 1784608"/>
              <a:gd name="connsiteX23" fmla="*/ 1280210 w 1563768"/>
              <a:gd name="connsiteY23" fmla="*/ 1712701 h 1784608"/>
              <a:gd name="connsiteX24" fmla="*/ 1247948 w 1563768"/>
              <a:gd name="connsiteY24" fmla="*/ 1784608 h 1784608"/>
              <a:gd name="connsiteX25" fmla="*/ 1563768 w 1563768"/>
              <a:gd name="connsiteY25" fmla="*/ 1784608 h 1784608"/>
              <a:gd name="connsiteX26" fmla="*/ 1284699 w 1563768"/>
              <a:gd name="connsiteY26" fmla="*/ 1391658 h 1784608"/>
              <a:gd name="connsiteX27" fmla="*/ 1341664 w 1563768"/>
              <a:gd name="connsiteY27" fmla="*/ 1298541 h 1784608"/>
              <a:gd name="connsiteX28" fmla="*/ 1261782 w 1563768"/>
              <a:gd name="connsiteY28" fmla="*/ 1030339 h 1784608"/>
              <a:gd name="connsiteX29" fmla="*/ 1208092 w 1563768"/>
              <a:gd name="connsiteY29" fmla="*/ 673610 h 1784608"/>
              <a:gd name="connsiteX30" fmla="*/ 1322676 w 1563768"/>
              <a:gd name="connsiteY30" fmla="*/ 509017 h 1784608"/>
              <a:gd name="connsiteX31" fmla="*/ 1361307 w 1563768"/>
              <a:gd name="connsiteY31" fmla="*/ 383112 h 1784608"/>
              <a:gd name="connsiteX32" fmla="*/ 1268985 w 1563768"/>
              <a:gd name="connsiteY32" fmla="*/ 309012 h 1784608"/>
              <a:gd name="connsiteX33" fmla="*/ 1162258 w 1563768"/>
              <a:gd name="connsiteY33" fmla="*/ 196879 h 1784608"/>
              <a:gd name="connsiteX34" fmla="*/ 1086960 w 1563768"/>
              <a:gd name="connsiteY34" fmla="*/ 144419 h 1784608"/>
              <a:gd name="connsiteX35" fmla="*/ 884637 w 1563768"/>
              <a:gd name="connsiteY35" fmla="*/ 59171 h 1784608"/>
              <a:gd name="connsiteX36" fmla="*/ 790350 w 1563768"/>
              <a:gd name="connsiteY36" fmla="*/ 25072 h 1784608"/>
              <a:gd name="connsiteX37" fmla="*/ 716034 w 1563768"/>
              <a:gd name="connsiteY37" fmla="*/ 318 h 1784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563768" h="1784608">
                <a:moveTo>
                  <a:pt x="716034" y="318"/>
                </a:moveTo>
                <a:cubicBezTo>
                  <a:pt x="689516" y="2121"/>
                  <a:pt x="663653" y="11302"/>
                  <a:pt x="645647" y="19826"/>
                </a:cubicBezTo>
                <a:cubicBezTo>
                  <a:pt x="481301" y="97205"/>
                  <a:pt x="372609" y="45400"/>
                  <a:pt x="284216" y="48023"/>
                </a:cubicBezTo>
                <a:lnTo>
                  <a:pt x="272874" y="50658"/>
                </a:lnTo>
                <a:lnTo>
                  <a:pt x="272874" y="814007"/>
                </a:lnTo>
                <a:lnTo>
                  <a:pt x="266050" y="810945"/>
                </a:lnTo>
                <a:lnTo>
                  <a:pt x="266050" y="820265"/>
                </a:lnTo>
                <a:lnTo>
                  <a:pt x="195408" y="788571"/>
                </a:lnTo>
                <a:cubicBezTo>
                  <a:pt x="143781" y="767864"/>
                  <a:pt x="92413" y="751875"/>
                  <a:pt x="58662" y="752514"/>
                </a:cubicBezTo>
                <a:lnTo>
                  <a:pt x="31756" y="759057"/>
                </a:lnTo>
                <a:lnTo>
                  <a:pt x="19676" y="774639"/>
                </a:lnTo>
                <a:cubicBezTo>
                  <a:pt x="-14296" y="846408"/>
                  <a:pt x="-3589" y="1042012"/>
                  <a:pt x="46484" y="1070267"/>
                </a:cubicBezTo>
                <a:cubicBezTo>
                  <a:pt x="75098" y="1086413"/>
                  <a:pt x="144609" y="1063778"/>
                  <a:pt x="213943" y="1032898"/>
                </a:cubicBezTo>
                <a:lnTo>
                  <a:pt x="272874" y="1003840"/>
                </a:lnTo>
                <a:lnTo>
                  <a:pt x="272874" y="1784608"/>
                </a:lnTo>
                <a:lnTo>
                  <a:pt x="1048462" y="1784608"/>
                </a:lnTo>
                <a:lnTo>
                  <a:pt x="1022232" y="1731415"/>
                </a:lnTo>
                <a:cubicBezTo>
                  <a:pt x="991352" y="1662081"/>
                  <a:pt x="968717" y="1592570"/>
                  <a:pt x="984863" y="1563956"/>
                </a:cubicBezTo>
                <a:cubicBezTo>
                  <a:pt x="988900" y="1556803"/>
                  <a:pt x="996352" y="1550453"/>
                  <a:pt x="1006369" y="1544922"/>
                </a:cubicBezTo>
                <a:lnTo>
                  <a:pt x="1006971" y="1544692"/>
                </a:lnTo>
                <a:lnTo>
                  <a:pt x="1013194" y="1539184"/>
                </a:lnTo>
                <a:cubicBezTo>
                  <a:pt x="1043249" y="1522591"/>
                  <a:pt x="1096400" y="1513368"/>
                  <a:pt x="1149728" y="1511932"/>
                </a:cubicBezTo>
                <a:cubicBezTo>
                  <a:pt x="1220831" y="1510019"/>
                  <a:pt x="1292247" y="1521951"/>
                  <a:pt x="1309644" y="1548720"/>
                </a:cubicBezTo>
                <a:cubicBezTo>
                  <a:pt x="1327042" y="1575489"/>
                  <a:pt x="1307819" y="1643865"/>
                  <a:pt x="1280210" y="1712701"/>
                </a:cubicBezTo>
                <a:lnTo>
                  <a:pt x="1247948" y="1784608"/>
                </a:lnTo>
                <a:lnTo>
                  <a:pt x="1563768" y="1784608"/>
                </a:lnTo>
                <a:lnTo>
                  <a:pt x="1284699" y="1391658"/>
                </a:lnTo>
                <a:lnTo>
                  <a:pt x="1341664" y="1298541"/>
                </a:lnTo>
                <a:lnTo>
                  <a:pt x="1261782" y="1030339"/>
                </a:lnTo>
                <a:lnTo>
                  <a:pt x="1208092" y="673610"/>
                </a:lnTo>
                <a:cubicBezTo>
                  <a:pt x="1249342" y="590330"/>
                  <a:pt x="1286009" y="545739"/>
                  <a:pt x="1322676" y="509017"/>
                </a:cubicBezTo>
                <a:cubicBezTo>
                  <a:pt x="1356069" y="446720"/>
                  <a:pt x="1406486" y="434261"/>
                  <a:pt x="1361307" y="383112"/>
                </a:cubicBezTo>
                <a:cubicBezTo>
                  <a:pt x="1336426" y="366719"/>
                  <a:pt x="1306961" y="345079"/>
                  <a:pt x="1268985" y="309012"/>
                </a:cubicBezTo>
                <a:cubicBezTo>
                  <a:pt x="1234282" y="276225"/>
                  <a:pt x="1198270" y="221798"/>
                  <a:pt x="1162258" y="196879"/>
                </a:cubicBezTo>
                <a:cubicBezTo>
                  <a:pt x="1136722" y="179174"/>
                  <a:pt x="1111186" y="151632"/>
                  <a:pt x="1086960" y="144419"/>
                </a:cubicBezTo>
                <a:cubicBezTo>
                  <a:pt x="1039817" y="130648"/>
                  <a:pt x="963209" y="25072"/>
                  <a:pt x="884637" y="59171"/>
                </a:cubicBezTo>
                <a:cubicBezTo>
                  <a:pt x="853208" y="72942"/>
                  <a:pt x="821124" y="55893"/>
                  <a:pt x="790350" y="25072"/>
                </a:cubicBezTo>
                <a:cubicBezTo>
                  <a:pt x="769725" y="4088"/>
                  <a:pt x="742552" y="-1486"/>
                  <a:pt x="716034" y="318"/>
                </a:cubicBezTo>
                <a:close/>
              </a:path>
            </a:pathLst>
          </a:custGeom>
          <a:solidFill>
            <a:schemeClr val="accent1">
              <a:lumMod val="50000"/>
            </a:schemeClr>
          </a:solidFill>
          <a:ln w="38100" cap="flat">
            <a:solidFill>
              <a:schemeClr val="bg1"/>
            </a:solidFill>
            <a:prstDash val="solid"/>
            <a:miter lim="800000"/>
            <a:headEnd/>
            <a:tailEnd/>
          </a:ln>
        </p:spPr>
        <p:txBody>
          <a:bodyPr vert="horz" wrap="square" lIns="91440" tIns="45720" rIns="91440" bIns="45720" numCol="1" anchor="t" anchorCtr="0" compatLnSpc="1">
            <a:prstTxWarp prst="textNoShape">
              <a:avLst/>
            </a:prstTxWarp>
            <a:noAutofit/>
          </a:bodyPr>
          <a:lstStyle/>
          <a:p>
            <a:endParaRPr lang="en-US" dirty="0"/>
          </a:p>
        </p:txBody>
      </p:sp>
      <p:sp>
        <p:nvSpPr>
          <p:cNvPr id="29" name="Forme libre : forme 41">
            <a:extLst>
              <a:ext uri="{FF2B5EF4-FFF2-40B4-BE49-F238E27FC236}">
                <a16:creationId xmlns:a16="http://schemas.microsoft.com/office/drawing/2014/main" id="{55DD80EC-65D3-49CD-80B3-5A6493933C48}"/>
              </a:ext>
            </a:extLst>
          </p:cNvPr>
          <p:cNvSpPr>
            <a:spLocks noChangeAspect="1"/>
          </p:cNvSpPr>
          <p:nvPr>
            <p:custDataLst>
              <p:tags r:id="rId6"/>
            </p:custDataLst>
          </p:nvPr>
        </p:nvSpPr>
        <p:spPr bwMode="auto">
          <a:xfrm flipH="1">
            <a:off x="6099412" y="2171943"/>
            <a:ext cx="1328034" cy="2003972"/>
          </a:xfrm>
          <a:custGeom>
            <a:avLst/>
            <a:gdLst>
              <a:gd name="connsiteX0" fmla="*/ 1328034 w 1328034"/>
              <a:gd name="connsiteY0" fmla="*/ 0 h 2003972"/>
              <a:gd name="connsiteX1" fmla="*/ 1298832 w 1328034"/>
              <a:gd name="connsiteY1" fmla="*/ 6784 h 2003972"/>
              <a:gd name="connsiteX2" fmla="*/ 1166794 w 1328034"/>
              <a:gd name="connsiteY2" fmla="*/ 50863 h 2003972"/>
              <a:gd name="connsiteX3" fmla="*/ 929114 w 1328034"/>
              <a:gd name="connsiteY3" fmla="*/ 44961 h 2003972"/>
              <a:gd name="connsiteX4" fmla="*/ 441967 w 1328034"/>
              <a:gd name="connsiteY4" fmla="*/ 235784 h 2003972"/>
              <a:gd name="connsiteX5" fmla="*/ 0 w 1328034"/>
              <a:gd name="connsiteY5" fmla="*/ 956455 h 2003972"/>
              <a:gd name="connsiteX6" fmla="*/ 75953 w 1328034"/>
              <a:gd name="connsiteY6" fmla="*/ 1555812 h 2003972"/>
              <a:gd name="connsiteX7" fmla="*/ 133025 w 1328034"/>
              <a:gd name="connsiteY7" fmla="*/ 1732364 h 2003972"/>
              <a:gd name="connsiteX8" fmla="*/ 359217 w 1328034"/>
              <a:gd name="connsiteY8" fmla="*/ 1732364 h 2003972"/>
              <a:gd name="connsiteX9" fmla="*/ 327523 w 1328034"/>
              <a:gd name="connsiteY9" fmla="*/ 1803006 h 2003972"/>
              <a:gd name="connsiteX10" fmla="*/ 298089 w 1328034"/>
              <a:gd name="connsiteY10" fmla="*/ 1966987 h 2003972"/>
              <a:gd name="connsiteX11" fmla="*/ 557634 w 1328034"/>
              <a:gd name="connsiteY11" fmla="*/ 1990644 h 2003972"/>
              <a:gd name="connsiteX12" fmla="*/ 593939 w 1328034"/>
              <a:gd name="connsiteY12" fmla="*/ 1976753 h 2003972"/>
              <a:gd name="connsiteX13" fmla="*/ 609220 w 1328034"/>
              <a:gd name="connsiteY13" fmla="*/ 1963228 h 2003972"/>
              <a:gd name="connsiteX14" fmla="*/ 571851 w 1328034"/>
              <a:gd name="connsiteY14" fmla="*/ 1795769 h 2003972"/>
              <a:gd name="connsiteX15" fmla="*/ 542793 w 1328034"/>
              <a:gd name="connsiteY15" fmla="*/ 1736838 h 2003972"/>
              <a:gd name="connsiteX16" fmla="*/ 552447 w 1328034"/>
              <a:gd name="connsiteY16" fmla="*/ 1736838 h 2003972"/>
              <a:gd name="connsiteX17" fmla="*/ 550241 w 1328034"/>
              <a:gd name="connsiteY17" fmla="*/ 1732364 h 2003972"/>
              <a:gd name="connsiteX18" fmla="*/ 1328034 w 1328034"/>
              <a:gd name="connsiteY18" fmla="*/ 1732364 h 2003972"/>
              <a:gd name="connsiteX19" fmla="*/ 1328034 w 1328034"/>
              <a:gd name="connsiteY19" fmla="*/ 959045 h 2003972"/>
              <a:gd name="connsiteX20" fmla="*/ 1270368 w 1328034"/>
              <a:gd name="connsiteY20" fmla="*/ 987480 h 2003972"/>
              <a:gd name="connsiteX21" fmla="*/ 1102909 w 1328034"/>
              <a:gd name="connsiteY21" fmla="*/ 1024849 h 2003972"/>
              <a:gd name="connsiteX22" fmla="*/ 1093411 w 1328034"/>
              <a:gd name="connsiteY22" fmla="*/ 706893 h 2003972"/>
              <a:gd name="connsiteX23" fmla="*/ 1093740 w 1328034"/>
              <a:gd name="connsiteY23" fmla="*/ 706813 h 2003972"/>
              <a:gd name="connsiteX24" fmla="*/ 1098970 w 1328034"/>
              <a:gd name="connsiteY24" fmla="*/ 700067 h 2003972"/>
              <a:gd name="connsiteX25" fmla="*/ 1262951 w 1328034"/>
              <a:gd name="connsiteY25" fmla="*/ 729501 h 2003972"/>
              <a:gd name="connsiteX26" fmla="*/ 1328034 w 1328034"/>
              <a:gd name="connsiteY26" fmla="*/ 758701 h 2003972"/>
              <a:gd name="connsiteX27" fmla="*/ 1328034 w 1328034"/>
              <a:gd name="connsiteY27" fmla="*/ 0 h 2003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28034" h="2003972">
                <a:moveTo>
                  <a:pt x="1328034" y="0"/>
                </a:moveTo>
                <a:lnTo>
                  <a:pt x="1298832" y="6784"/>
                </a:lnTo>
                <a:cubicBezTo>
                  <a:pt x="1252978" y="25535"/>
                  <a:pt x="1210991" y="60699"/>
                  <a:pt x="1166794" y="50863"/>
                </a:cubicBezTo>
                <a:cubicBezTo>
                  <a:pt x="1086912" y="50207"/>
                  <a:pt x="1007031" y="31190"/>
                  <a:pt x="929114" y="44961"/>
                </a:cubicBezTo>
                <a:cubicBezTo>
                  <a:pt x="748398" y="77093"/>
                  <a:pt x="578813" y="122995"/>
                  <a:pt x="441967" y="235784"/>
                </a:cubicBezTo>
                <a:cubicBezTo>
                  <a:pt x="264525" y="370869"/>
                  <a:pt x="16369" y="579398"/>
                  <a:pt x="0" y="956455"/>
                </a:cubicBezTo>
                <a:lnTo>
                  <a:pt x="75953" y="1555812"/>
                </a:lnTo>
                <a:lnTo>
                  <a:pt x="133025" y="1732364"/>
                </a:lnTo>
                <a:lnTo>
                  <a:pt x="359217" y="1732364"/>
                </a:lnTo>
                <a:lnTo>
                  <a:pt x="327523" y="1803006"/>
                </a:lnTo>
                <a:cubicBezTo>
                  <a:pt x="299914" y="1871842"/>
                  <a:pt x="280691" y="1940218"/>
                  <a:pt x="298089" y="1966987"/>
                </a:cubicBezTo>
                <a:cubicBezTo>
                  <a:pt x="324185" y="2007141"/>
                  <a:pt x="471823" y="2013911"/>
                  <a:pt x="557634" y="1990644"/>
                </a:cubicBezTo>
                <a:lnTo>
                  <a:pt x="593939" y="1976753"/>
                </a:lnTo>
                <a:lnTo>
                  <a:pt x="609220" y="1963228"/>
                </a:lnTo>
                <a:cubicBezTo>
                  <a:pt x="625366" y="1934614"/>
                  <a:pt x="602731" y="1865103"/>
                  <a:pt x="571851" y="1795769"/>
                </a:cubicBezTo>
                <a:lnTo>
                  <a:pt x="542793" y="1736838"/>
                </a:lnTo>
                <a:lnTo>
                  <a:pt x="552447" y="1736838"/>
                </a:lnTo>
                <a:lnTo>
                  <a:pt x="550241" y="1732364"/>
                </a:lnTo>
                <a:lnTo>
                  <a:pt x="1328034" y="1732364"/>
                </a:lnTo>
                <a:lnTo>
                  <a:pt x="1328034" y="959045"/>
                </a:lnTo>
                <a:lnTo>
                  <a:pt x="1270368" y="987480"/>
                </a:lnTo>
                <a:cubicBezTo>
                  <a:pt x="1201034" y="1018360"/>
                  <a:pt x="1131523" y="1040995"/>
                  <a:pt x="1102909" y="1024849"/>
                </a:cubicBezTo>
                <a:cubicBezTo>
                  <a:pt x="1045683" y="992557"/>
                  <a:pt x="1039873" y="741688"/>
                  <a:pt x="1093411" y="706893"/>
                </a:cubicBezTo>
                <a:lnTo>
                  <a:pt x="1093740" y="706813"/>
                </a:lnTo>
                <a:lnTo>
                  <a:pt x="1098970" y="700067"/>
                </a:lnTo>
                <a:cubicBezTo>
                  <a:pt x="1125739" y="682669"/>
                  <a:pt x="1194115" y="701892"/>
                  <a:pt x="1262951" y="729501"/>
                </a:cubicBezTo>
                <a:lnTo>
                  <a:pt x="1328034" y="758701"/>
                </a:lnTo>
                <a:lnTo>
                  <a:pt x="1328034" y="0"/>
                </a:lnTo>
                <a:close/>
              </a:path>
            </a:pathLst>
          </a:custGeom>
          <a:solidFill>
            <a:schemeClr val="accent1"/>
          </a:solidFill>
          <a:ln w="38100" cap="flat">
            <a:solidFill>
              <a:schemeClr val="bg1"/>
            </a:solidFill>
            <a:prstDash val="solid"/>
            <a:miter lim="800000"/>
            <a:headEnd/>
            <a:tailEnd/>
          </a:ln>
        </p:spPr>
        <p:txBody>
          <a:bodyPr vert="horz" wrap="square" lIns="91440" tIns="45720" rIns="91440" bIns="45720" numCol="1" anchor="t" anchorCtr="0" compatLnSpc="1">
            <a:prstTxWarp prst="textNoShape">
              <a:avLst/>
            </a:prstTxWarp>
            <a:noAutofit/>
          </a:bodyPr>
          <a:lstStyle/>
          <a:p>
            <a:endParaRPr lang="en-US" dirty="0"/>
          </a:p>
        </p:txBody>
      </p:sp>
    </p:spTree>
    <p:custDataLst>
      <p:tags r:id="rId1"/>
    </p:custDataLst>
    <p:extLst>
      <p:ext uri="{BB962C8B-B14F-4D97-AF65-F5344CB8AC3E}">
        <p14:creationId xmlns:p14="http://schemas.microsoft.com/office/powerpoint/2010/main" val="12448293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World_2"/>
          <p:cNvGrpSpPr>
            <a:grpSpLocks noChangeAspect="1"/>
          </p:cNvGrpSpPr>
          <p:nvPr/>
        </p:nvGrpSpPr>
        <p:grpSpPr>
          <a:xfrm>
            <a:off x="939697" y="1128389"/>
            <a:ext cx="10312605" cy="6360754"/>
            <a:chOff x="1177623" y="1241946"/>
            <a:chExt cx="7229398" cy="4778929"/>
          </a:xfrm>
          <a:solidFill>
            <a:schemeClr val="bg1">
              <a:lumMod val="95000"/>
            </a:schemeClr>
          </a:solidFill>
        </p:grpSpPr>
        <p:sp>
          <p:nvSpPr>
            <p:cNvPr id="5" name="Freeform 101"/>
            <p:cNvSpPr>
              <a:spLocks/>
            </p:cNvSpPr>
            <p:nvPr/>
          </p:nvSpPr>
          <p:spPr bwMode="auto">
            <a:xfrm>
              <a:off x="2802239" y="1922285"/>
              <a:ext cx="20344" cy="16557"/>
            </a:xfrm>
            <a:custGeom>
              <a:avLst/>
              <a:gdLst>
                <a:gd name="T0" fmla="*/ 3 w 6"/>
                <a:gd name="T1" fmla="*/ 0 h 5"/>
                <a:gd name="T2" fmla="*/ 1 w 6"/>
                <a:gd name="T3" fmla="*/ 4 h 5"/>
                <a:gd name="T4" fmla="*/ 6 w 6"/>
                <a:gd name="T5" fmla="*/ 3 h 5"/>
                <a:gd name="T6" fmla="*/ 3 w 6"/>
                <a:gd name="T7" fmla="*/ 0 h 5"/>
              </a:gdLst>
              <a:ahLst/>
              <a:cxnLst>
                <a:cxn ang="0">
                  <a:pos x="T0" y="T1"/>
                </a:cxn>
                <a:cxn ang="0">
                  <a:pos x="T2" y="T3"/>
                </a:cxn>
                <a:cxn ang="0">
                  <a:pos x="T4" y="T5"/>
                </a:cxn>
                <a:cxn ang="0">
                  <a:pos x="T6" y="T7"/>
                </a:cxn>
              </a:cxnLst>
              <a:rect l="0" t="0" r="r" b="b"/>
              <a:pathLst>
                <a:path w="6" h="5">
                  <a:moveTo>
                    <a:pt x="3" y="0"/>
                  </a:moveTo>
                  <a:cubicBezTo>
                    <a:pt x="2" y="2"/>
                    <a:pt x="0" y="2"/>
                    <a:pt x="1" y="4"/>
                  </a:cubicBezTo>
                  <a:cubicBezTo>
                    <a:pt x="2" y="5"/>
                    <a:pt x="5" y="5"/>
                    <a:pt x="6" y="3"/>
                  </a:cubicBezTo>
                  <a:cubicBezTo>
                    <a:pt x="4" y="3"/>
                    <a:pt x="5" y="0"/>
                    <a:pt x="3"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 name="Freeform 102"/>
            <p:cNvSpPr>
              <a:spLocks/>
            </p:cNvSpPr>
            <p:nvPr/>
          </p:nvSpPr>
          <p:spPr bwMode="auto">
            <a:xfrm>
              <a:off x="5510902" y="2714007"/>
              <a:ext cx="300802" cy="189652"/>
            </a:xfrm>
            <a:custGeom>
              <a:avLst/>
              <a:gdLst>
                <a:gd name="T0" fmla="*/ 53 w 88"/>
                <a:gd name="T1" fmla="*/ 15 h 53"/>
                <a:gd name="T2" fmla="*/ 58 w 88"/>
                <a:gd name="T3" fmla="*/ 13 h 53"/>
                <a:gd name="T4" fmla="*/ 61 w 88"/>
                <a:gd name="T5" fmla="*/ 7 h 53"/>
                <a:gd name="T6" fmla="*/ 57 w 88"/>
                <a:gd name="T7" fmla="*/ 3 h 53"/>
                <a:gd name="T8" fmla="*/ 64 w 88"/>
                <a:gd name="T9" fmla="*/ 0 h 53"/>
                <a:gd name="T10" fmla="*/ 38 w 88"/>
                <a:gd name="T11" fmla="*/ 8 h 53"/>
                <a:gd name="T12" fmla="*/ 44 w 88"/>
                <a:gd name="T13" fmla="*/ 14 h 53"/>
                <a:gd name="T14" fmla="*/ 52 w 88"/>
                <a:gd name="T15" fmla="*/ 14 h 53"/>
                <a:gd name="T16" fmla="*/ 45 w 88"/>
                <a:gd name="T17" fmla="*/ 17 h 53"/>
                <a:gd name="T18" fmla="*/ 32 w 88"/>
                <a:gd name="T19" fmla="*/ 20 h 53"/>
                <a:gd name="T20" fmla="*/ 34 w 88"/>
                <a:gd name="T21" fmla="*/ 16 h 53"/>
                <a:gd name="T22" fmla="*/ 28 w 88"/>
                <a:gd name="T23" fmla="*/ 15 h 53"/>
                <a:gd name="T24" fmla="*/ 34 w 88"/>
                <a:gd name="T25" fmla="*/ 9 h 53"/>
                <a:gd name="T26" fmla="*/ 25 w 88"/>
                <a:gd name="T27" fmla="*/ 3 h 53"/>
                <a:gd name="T28" fmla="*/ 12 w 88"/>
                <a:gd name="T29" fmla="*/ 13 h 53"/>
                <a:gd name="T30" fmla="*/ 12 w 88"/>
                <a:gd name="T31" fmla="*/ 19 h 53"/>
                <a:gd name="T32" fmla="*/ 8 w 88"/>
                <a:gd name="T33" fmla="*/ 20 h 53"/>
                <a:gd name="T34" fmla="*/ 6 w 88"/>
                <a:gd name="T35" fmla="*/ 31 h 53"/>
                <a:gd name="T36" fmla="*/ 0 w 88"/>
                <a:gd name="T37" fmla="*/ 38 h 53"/>
                <a:gd name="T38" fmla="*/ 4 w 88"/>
                <a:gd name="T39" fmla="*/ 45 h 53"/>
                <a:gd name="T40" fmla="*/ 20 w 88"/>
                <a:gd name="T41" fmla="*/ 48 h 53"/>
                <a:gd name="T42" fmla="*/ 44 w 88"/>
                <a:gd name="T43" fmla="*/ 39 h 53"/>
                <a:gd name="T44" fmla="*/ 45 w 88"/>
                <a:gd name="T45" fmla="*/ 43 h 53"/>
                <a:gd name="T46" fmla="*/ 50 w 88"/>
                <a:gd name="T47" fmla="*/ 43 h 53"/>
                <a:gd name="T48" fmla="*/ 79 w 88"/>
                <a:gd name="T49" fmla="*/ 35 h 53"/>
                <a:gd name="T50" fmla="*/ 53 w 88"/>
                <a:gd name="T51" fmla="*/ 1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8" h="53">
                  <a:moveTo>
                    <a:pt x="53" y="15"/>
                  </a:moveTo>
                  <a:cubicBezTo>
                    <a:pt x="55" y="14"/>
                    <a:pt x="55" y="13"/>
                    <a:pt x="58" y="13"/>
                  </a:cubicBezTo>
                  <a:cubicBezTo>
                    <a:pt x="58" y="10"/>
                    <a:pt x="59" y="8"/>
                    <a:pt x="61" y="7"/>
                  </a:cubicBezTo>
                  <a:cubicBezTo>
                    <a:pt x="59" y="6"/>
                    <a:pt x="58" y="5"/>
                    <a:pt x="57" y="3"/>
                  </a:cubicBezTo>
                  <a:cubicBezTo>
                    <a:pt x="60" y="2"/>
                    <a:pt x="63" y="2"/>
                    <a:pt x="64" y="0"/>
                  </a:cubicBezTo>
                  <a:cubicBezTo>
                    <a:pt x="54" y="1"/>
                    <a:pt x="47" y="6"/>
                    <a:pt x="38" y="8"/>
                  </a:cubicBezTo>
                  <a:cubicBezTo>
                    <a:pt x="40" y="10"/>
                    <a:pt x="44" y="10"/>
                    <a:pt x="44" y="14"/>
                  </a:cubicBezTo>
                  <a:cubicBezTo>
                    <a:pt x="46" y="13"/>
                    <a:pt x="51" y="12"/>
                    <a:pt x="52" y="14"/>
                  </a:cubicBezTo>
                  <a:cubicBezTo>
                    <a:pt x="52" y="19"/>
                    <a:pt x="48" y="16"/>
                    <a:pt x="45" y="17"/>
                  </a:cubicBezTo>
                  <a:cubicBezTo>
                    <a:pt x="39" y="19"/>
                    <a:pt x="37" y="25"/>
                    <a:pt x="32" y="20"/>
                  </a:cubicBezTo>
                  <a:cubicBezTo>
                    <a:pt x="33" y="20"/>
                    <a:pt x="33" y="18"/>
                    <a:pt x="34" y="16"/>
                  </a:cubicBezTo>
                  <a:cubicBezTo>
                    <a:pt x="32" y="14"/>
                    <a:pt x="29" y="15"/>
                    <a:pt x="28" y="15"/>
                  </a:cubicBezTo>
                  <a:cubicBezTo>
                    <a:pt x="26" y="12"/>
                    <a:pt x="33" y="11"/>
                    <a:pt x="34" y="9"/>
                  </a:cubicBezTo>
                  <a:cubicBezTo>
                    <a:pt x="29" y="9"/>
                    <a:pt x="23" y="8"/>
                    <a:pt x="25" y="3"/>
                  </a:cubicBezTo>
                  <a:cubicBezTo>
                    <a:pt x="18" y="3"/>
                    <a:pt x="17" y="10"/>
                    <a:pt x="12" y="13"/>
                  </a:cubicBezTo>
                  <a:cubicBezTo>
                    <a:pt x="15" y="14"/>
                    <a:pt x="12" y="16"/>
                    <a:pt x="12" y="19"/>
                  </a:cubicBezTo>
                  <a:cubicBezTo>
                    <a:pt x="12" y="19"/>
                    <a:pt x="10" y="20"/>
                    <a:pt x="8" y="20"/>
                  </a:cubicBezTo>
                  <a:cubicBezTo>
                    <a:pt x="7" y="23"/>
                    <a:pt x="5" y="26"/>
                    <a:pt x="6" y="31"/>
                  </a:cubicBezTo>
                  <a:cubicBezTo>
                    <a:pt x="1" y="30"/>
                    <a:pt x="4" y="37"/>
                    <a:pt x="0" y="38"/>
                  </a:cubicBezTo>
                  <a:cubicBezTo>
                    <a:pt x="3" y="39"/>
                    <a:pt x="3" y="43"/>
                    <a:pt x="4" y="45"/>
                  </a:cubicBezTo>
                  <a:cubicBezTo>
                    <a:pt x="10" y="47"/>
                    <a:pt x="14" y="47"/>
                    <a:pt x="20" y="48"/>
                  </a:cubicBezTo>
                  <a:cubicBezTo>
                    <a:pt x="25" y="40"/>
                    <a:pt x="37" y="42"/>
                    <a:pt x="44" y="39"/>
                  </a:cubicBezTo>
                  <a:cubicBezTo>
                    <a:pt x="43" y="41"/>
                    <a:pt x="45" y="41"/>
                    <a:pt x="45" y="43"/>
                  </a:cubicBezTo>
                  <a:cubicBezTo>
                    <a:pt x="47" y="44"/>
                    <a:pt x="47" y="42"/>
                    <a:pt x="50" y="43"/>
                  </a:cubicBezTo>
                  <a:cubicBezTo>
                    <a:pt x="55" y="51"/>
                    <a:pt x="88" y="53"/>
                    <a:pt x="79" y="35"/>
                  </a:cubicBezTo>
                  <a:cubicBezTo>
                    <a:pt x="69" y="30"/>
                    <a:pt x="60" y="23"/>
                    <a:pt x="53" y="15"/>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 name="Freeform 103"/>
            <p:cNvSpPr>
              <a:spLocks/>
            </p:cNvSpPr>
            <p:nvPr/>
          </p:nvSpPr>
          <p:spPr bwMode="auto">
            <a:xfrm>
              <a:off x="6015143" y="2864524"/>
              <a:ext cx="33423" cy="31609"/>
            </a:xfrm>
            <a:custGeom>
              <a:avLst/>
              <a:gdLst>
                <a:gd name="T0" fmla="*/ 10 w 10"/>
                <a:gd name="T1" fmla="*/ 6 h 9"/>
                <a:gd name="T2" fmla="*/ 6 w 10"/>
                <a:gd name="T3" fmla="*/ 0 h 9"/>
                <a:gd name="T4" fmla="*/ 1 w 10"/>
                <a:gd name="T5" fmla="*/ 1 h 9"/>
                <a:gd name="T6" fmla="*/ 1 w 10"/>
                <a:gd name="T7" fmla="*/ 8 h 9"/>
                <a:gd name="T8" fmla="*/ 7 w 10"/>
                <a:gd name="T9" fmla="*/ 9 h 9"/>
                <a:gd name="T10" fmla="*/ 10 w 10"/>
                <a:gd name="T11" fmla="*/ 6 h 9"/>
              </a:gdLst>
              <a:ahLst/>
              <a:cxnLst>
                <a:cxn ang="0">
                  <a:pos x="T0" y="T1"/>
                </a:cxn>
                <a:cxn ang="0">
                  <a:pos x="T2" y="T3"/>
                </a:cxn>
                <a:cxn ang="0">
                  <a:pos x="T4" y="T5"/>
                </a:cxn>
                <a:cxn ang="0">
                  <a:pos x="T6" y="T7"/>
                </a:cxn>
                <a:cxn ang="0">
                  <a:pos x="T8" y="T9"/>
                </a:cxn>
                <a:cxn ang="0">
                  <a:pos x="T10" y="T11"/>
                </a:cxn>
              </a:cxnLst>
              <a:rect l="0" t="0" r="r" b="b"/>
              <a:pathLst>
                <a:path w="10" h="9">
                  <a:moveTo>
                    <a:pt x="10" y="6"/>
                  </a:moveTo>
                  <a:cubicBezTo>
                    <a:pt x="7" y="5"/>
                    <a:pt x="5" y="3"/>
                    <a:pt x="6" y="0"/>
                  </a:cubicBezTo>
                  <a:cubicBezTo>
                    <a:pt x="4" y="0"/>
                    <a:pt x="2" y="0"/>
                    <a:pt x="1" y="1"/>
                  </a:cubicBezTo>
                  <a:cubicBezTo>
                    <a:pt x="0" y="4"/>
                    <a:pt x="1" y="6"/>
                    <a:pt x="1" y="8"/>
                  </a:cubicBezTo>
                  <a:cubicBezTo>
                    <a:pt x="4" y="6"/>
                    <a:pt x="4" y="8"/>
                    <a:pt x="7" y="9"/>
                  </a:cubicBezTo>
                  <a:cubicBezTo>
                    <a:pt x="6" y="6"/>
                    <a:pt x="10" y="8"/>
                    <a:pt x="10" y="6"/>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 name="Freeform 104"/>
            <p:cNvSpPr>
              <a:spLocks/>
            </p:cNvSpPr>
            <p:nvPr/>
          </p:nvSpPr>
          <p:spPr bwMode="auto">
            <a:xfrm>
              <a:off x="5503636" y="2893123"/>
              <a:ext cx="30517" cy="21073"/>
            </a:xfrm>
            <a:custGeom>
              <a:avLst/>
              <a:gdLst>
                <a:gd name="T0" fmla="*/ 0 w 9"/>
                <a:gd name="T1" fmla="*/ 2 h 6"/>
                <a:gd name="T2" fmla="*/ 9 w 9"/>
                <a:gd name="T3" fmla="*/ 1 h 6"/>
                <a:gd name="T4" fmla="*/ 0 w 9"/>
                <a:gd name="T5" fmla="*/ 2 h 6"/>
              </a:gdLst>
              <a:ahLst/>
              <a:cxnLst>
                <a:cxn ang="0">
                  <a:pos x="T0" y="T1"/>
                </a:cxn>
                <a:cxn ang="0">
                  <a:pos x="T2" y="T3"/>
                </a:cxn>
                <a:cxn ang="0">
                  <a:pos x="T4" y="T5"/>
                </a:cxn>
              </a:cxnLst>
              <a:rect l="0" t="0" r="r" b="b"/>
              <a:pathLst>
                <a:path w="9" h="6">
                  <a:moveTo>
                    <a:pt x="0" y="2"/>
                  </a:moveTo>
                  <a:cubicBezTo>
                    <a:pt x="4" y="0"/>
                    <a:pt x="6" y="6"/>
                    <a:pt x="9" y="1"/>
                  </a:cubicBezTo>
                  <a:cubicBezTo>
                    <a:pt x="5" y="1"/>
                    <a:pt x="2" y="0"/>
                    <a:pt x="0" y="2"/>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 name="Freeform 105"/>
            <p:cNvSpPr>
              <a:spLocks/>
            </p:cNvSpPr>
            <p:nvPr/>
          </p:nvSpPr>
          <p:spPr bwMode="auto">
            <a:xfrm>
              <a:off x="5894533" y="2718523"/>
              <a:ext cx="140956" cy="298024"/>
            </a:xfrm>
            <a:custGeom>
              <a:avLst/>
              <a:gdLst>
                <a:gd name="T0" fmla="*/ 36 w 41"/>
                <a:gd name="T1" fmla="*/ 61 h 84"/>
                <a:gd name="T2" fmla="*/ 37 w 41"/>
                <a:gd name="T3" fmla="*/ 57 h 84"/>
                <a:gd name="T4" fmla="*/ 33 w 41"/>
                <a:gd name="T5" fmla="*/ 55 h 84"/>
                <a:gd name="T6" fmla="*/ 33 w 41"/>
                <a:gd name="T7" fmla="*/ 35 h 84"/>
                <a:gd name="T8" fmla="*/ 19 w 41"/>
                <a:gd name="T9" fmla="*/ 23 h 84"/>
                <a:gd name="T10" fmla="*/ 24 w 41"/>
                <a:gd name="T11" fmla="*/ 19 h 84"/>
                <a:gd name="T12" fmla="*/ 33 w 41"/>
                <a:gd name="T13" fmla="*/ 12 h 84"/>
                <a:gd name="T14" fmla="*/ 36 w 41"/>
                <a:gd name="T15" fmla="*/ 1 h 84"/>
                <a:gd name="T16" fmla="*/ 26 w 41"/>
                <a:gd name="T17" fmla="*/ 0 h 84"/>
                <a:gd name="T18" fmla="*/ 0 w 41"/>
                <a:gd name="T19" fmla="*/ 20 h 84"/>
                <a:gd name="T20" fmla="*/ 6 w 41"/>
                <a:gd name="T21" fmla="*/ 26 h 84"/>
                <a:gd name="T22" fmla="*/ 16 w 41"/>
                <a:gd name="T23" fmla="*/ 51 h 84"/>
                <a:gd name="T24" fmla="*/ 21 w 41"/>
                <a:gd name="T25" fmla="*/ 55 h 84"/>
                <a:gd name="T26" fmla="*/ 16 w 41"/>
                <a:gd name="T27" fmla="*/ 55 h 84"/>
                <a:gd name="T28" fmla="*/ 12 w 41"/>
                <a:gd name="T29" fmla="*/ 75 h 84"/>
                <a:gd name="T30" fmla="*/ 18 w 41"/>
                <a:gd name="T31" fmla="*/ 75 h 84"/>
                <a:gd name="T32" fmla="*/ 41 w 41"/>
                <a:gd name="T33" fmla="*/ 80 h 84"/>
                <a:gd name="T34" fmla="*/ 41 w 41"/>
                <a:gd name="T35" fmla="*/ 64 h 84"/>
                <a:gd name="T36" fmla="*/ 36 w 41"/>
                <a:gd name="T37" fmla="*/ 61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1" h="84">
                  <a:moveTo>
                    <a:pt x="36" y="61"/>
                  </a:moveTo>
                  <a:cubicBezTo>
                    <a:pt x="35" y="59"/>
                    <a:pt x="38" y="60"/>
                    <a:pt x="37" y="57"/>
                  </a:cubicBezTo>
                  <a:cubicBezTo>
                    <a:pt x="34" y="58"/>
                    <a:pt x="34" y="56"/>
                    <a:pt x="33" y="55"/>
                  </a:cubicBezTo>
                  <a:cubicBezTo>
                    <a:pt x="36" y="46"/>
                    <a:pt x="29" y="42"/>
                    <a:pt x="33" y="35"/>
                  </a:cubicBezTo>
                  <a:cubicBezTo>
                    <a:pt x="23" y="35"/>
                    <a:pt x="27" y="25"/>
                    <a:pt x="19" y="23"/>
                  </a:cubicBezTo>
                  <a:cubicBezTo>
                    <a:pt x="17" y="17"/>
                    <a:pt x="23" y="19"/>
                    <a:pt x="24" y="19"/>
                  </a:cubicBezTo>
                  <a:cubicBezTo>
                    <a:pt x="22" y="15"/>
                    <a:pt x="27" y="10"/>
                    <a:pt x="33" y="12"/>
                  </a:cubicBezTo>
                  <a:cubicBezTo>
                    <a:pt x="36" y="9"/>
                    <a:pt x="35" y="5"/>
                    <a:pt x="36" y="1"/>
                  </a:cubicBezTo>
                  <a:cubicBezTo>
                    <a:pt x="31" y="0"/>
                    <a:pt x="29" y="3"/>
                    <a:pt x="26" y="0"/>
                  </a:cubicBezTo>
                  <a:cubicBezTo>
                    <a:pt x="14" y="5"/>
                    <a:pt x="7" y="10"/>
                    <a:pt x="0" y="20"/>
                  </a:cubicBezTo>
                  <a:cubicBezTo>
                    <a:pt x="4" y="21"/>
                    <a:pt x="3" y="25"/>
                    <a:pt x="6" y="26"/>
                  </a:cubicBezTo>
                  <a:cubicBezTo>
                    <a:pt x="3" y="37"/>
                    <a:pt x="14" y="41"/>
                    <a:pt x="16" y="51"/>
                  </a:cubicBezTo>
                  <a:cubicBezTo>
                    <a:pt x="20" y="50"/>
                    <a:pt x="21" y="51"/>
                    <a:pt x="21" y="55"/>
                  </a:cubicBezTo>
                  <a:cubicBezTo>
                    <a:pt x="18" y="54"/>
                    <a:pt x="18" y="54"/>
                    <a:pt x="16" y="55"/>
                  </a:cubicBezTo>
                  <a:cubicBezTo>
                    <a:pt x="17" y="63"/>
                    <a:pt x="11" y="64"/>
                    <a:pt x="12" y="75"/>
                  </a:cubicBezTo>
                  <a:cubicBezTo>
                    <a:pt x="14" y="75"/>
                    <a:pt x="15" y="76"/>
                    <a:pt x="18" y="75"/>
                  </a:cubicBezTo>
                  <a:cubicBezTo>
                    <a:pt x="22" y="84"/>
                    <a:pt x="31" y="80"/>
                    <a:pt x="41" y="80"/>
                  </a:cubicBezTo>
                  <a:cubicBezTo>
                    <a:pt x="41" y="74"/>
                    <a:pt x="39" y="69"/>
                    <a:pt x="41" y="64"/>
                  </a:cubicBezTo>
                  <a:cubicBezTo>
                    <a:pt x="39" y="62"/>
                    <a:pt x="37" y="62"/>
                    <a:pt x="36" y="6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 name="Freeform 106"/>
            <p:cNvSpPr>
              <a:spLocks/>
            </p:cNvSpPr>
            <p:nvPr/>
          </p:nvSpPr>
          <p:spPr bwMode="auto">
            <a:xfrm>
              <a:off x="3148088" y="1241946"/>
              <a:ext cx="1219189" cy="1867923"/>
            </a:xfrm>
            <a:custGeom>
              <a:avLst/>
              <a:gdLst>
                <a:gd name="T0" fmla="*/ 264 w 355"/>
                <a:gd name="T1" fmla="*/ 374 h 525"/>
                <a:gd name="T2" fmla="*/ 289 w 355"/>
                <a:gd name="T3" fmla="*/ 373 h 525"/>
                <a:gd name="T4" fmla="*/ 298 w 355"/>
                <a:gd name="T5" fmla="*/ 356 h 525"/>
                <a:gd name="T6" fmla="*/ 271 w 355"/>
                <a:gd name="T7" fmla="*/ 320 h 525"/>
                <a:gd name="T8" fmla="*/ 310 w 355"/>
                <a:gd name="T9" fmla="*/ 319 h 525"/>
                <a:gd name="T10" fmla="*/ 303 w 355"/>
                <a:gd name="T11" fmla="*/ 301 h 525"/>
                <a:gd name="T12" fmla="*/ 315 w 355"/>
                <a:gd name="T13" fmla="*/ 281 h 525"/>
                <a:gd name="T14" fmla="*/ 306 w 355"/>
                <a:gd name="T15" fmla="*/ 245 h 525"/>
                <a:gd name="T16" fmla="*/ 322 w 355"/>
                <a:gd name="T17" fmla="*/ 229 h 525"/>
                <a:gd name="T18" fmla="*/ 307 w 355"/>
                <a:gd name="T19" fmla="*/ 211 h 525"/>
                <a:gd name="T20" fmla="*/ 312 w 355"/>
                <a:gd name="T21" fmla="*/ 187 h 525"/>
                <a:gd name="T22" fmla="*/ 311 w 355"/>
                <a:gd name="T23" fmla="*/ 152 h 525"/>
                <a:gd name="T24" fmla="*/ 332 w 355"/>
                <a:gd name="T25" fmla="*/ 78 h 525"/>
                <a:gd name="T26" fmla="*/ 289 w 355"/>
                <a:gd name="T27" fmla="*/ 129 h 525"/>
                <a:gd name="T28" fmla="*/ 275 w 355"/>
                <a:gd name="T29" fmla="*/ 79 h 525"/>
                <a:gd name="T30" fmla="*/ 280 w 355"/>
                <a:gd name="T31" fmla="*/ 65 h 525"/>
                <a:gd name="T32" fmla="*/ 275 w 355"/>
                <a:gd name="T33" fmla="*/ 13 h 525"/>
                <a:gd name="T34" fmla="*/ 255 w 355"/>
                <a:gd name="T35" fmla="*/ 4 h 525"/>
                <a:gd name="T36" fmla="*/ 228 w 355"/>
                <a:gd name="T37" fmla="*/ 9 h 525"/>
                <a:gd name="T38" fmla="*/ 184 w 355"/>
                <a:gd name="T39" fmla="*/ 17 h 525"/>
                <a:gd name="T40" fmla="*/ 168 w 355"/>
                <a:gd name="T41" fmla="*/ 84 h 525"/>
                <a:gd name="T42" fmla="*/ 137 w 355"/>
                <a:gd name="T43" fmla="*/ 86 h 525"/>
                <a:gd name="T44" fmla="*/ 111 w 355"/>
                <a:gd name="T45" fmla="*/ 60 h 525"/>
                <a:gd name="T46" fmla="*/ 74 w 355"/>
                <a:gd name="T47" fmla="*/ 79 h 525"/>
                <a:gd name="T48" fmla="*/ 41 w 355"/>
                <a:gd name="T49" fmla="*/ 150 h 525"/>
                <a:gd name="T50" fmla="*/ 24 w 355"/>
                <a:gd name="T51" fmla="*/ 187 h 525"/>
                <a:gd name="T52" fmla="*/ 22 w 355"/>
                <a:gd name="T53" fmla="*/ 223 h 525"/>
                <a:gd name="T54" fmla="*/ 12 w 355"/>
                <a:gd name="T55" fmla="*/ 233 h 525"/>
                <a:gd name="T56" fmla="*/ 42 w 355"/>
                <a:gd name="T57" fmla="*/ 264 h 525"/>
                <a:gd name="T58" fmla="*/ 87 w 355"/>
                <a:gd name="T59" fmla="*/ 267 h 525"/>
                <a:gd name="T60" fmla="*/ 111 w 355"/>
                <a:gd name="T61" fmla="*/ 333 h 525"/>
                <a:gd name="T62" fmla="*/ 120 w 355"/>
                <a:gd name="T63" fmla="*/ 350 h 525"/>
                <a:gd name="T64" fmla="*/ 133 w 355"/>
                <a:gd name="T65" fmla="*/ 377 h 525"/>
                <a:gd name="T66" fmla="*/ 135 w 355"/>
                <a:gd name="T67" fmla="*/ 398 h 525"/>
                <a:gd name="T68" fmla="*/ 135 w 355"/>
                <a:gd name="T69" fmla="*/ 417 h 525"/>
                <a:gd name="T70" fmla="*/ 118 w 355"/>
                <a:gd name="T71" fmla="*/ 431 h 525"/>
                <a:gd name="T72" fmla="*/ 121 w 355"/>
                <a:gd name="T73" fmla="*/ 441 h 525"/>
                <a:gd name="T74" fmla="*/ 137 w 355"/>
                <a:gd name="T75" fmla="*/ 464 h 525"/>
                <a:gd name="T76" fmla="*/ 137 w 355"/>
                <a:gd name="T77" fmla="*/ 494 h 525"/>
                <a:gd name="T78" fmla="*/ 163 w 355"/>
                <a:gd name="T79" fmla="*/ 510 h 525"/>
                <a:gd name="T80" fmla="*/ 172 w 355"/>
                <a:gd name="T81" fmla="*/ 521 h 525"/>
                <a:gd name="T82" fmla="*/ 181 w 355"/>
                <a:gd name="T83" fmla="*/ 516 h 525"/>
                <a:gd name="T84" fmla="*/ 186 w 355"/>
                <a:gd name="T85" fmla="*/ 490 h 525"/>
                <a:gd name="T86" fmla="*/ 189 w 355"/>
                <a:gd name="T87" fmla="*/ 478 h 525"/>
                <a:gd name="T88" fmla="*/ 194 w 355"/>
                <a:gd name="T89" fmla="*/ 469 h 525"/>
                <a:gd name="T90" fmla="*/ 197 w 355"/>
                <a:gd name="T91" fmla="*/ 452 h 525"/>
                <a:gd name="T92" fmla="*/ 209 w 355"/>
                <a:gd name="T93" fmla="*/ 451 h 525"/>
                <a:gd name="T94" fmla="*/ 242 w 355"/>
                <a:gd name="T95" fmla="*/ 416 h 525"/>
                <a:gd name="T96" fmla="*/ 255 w 355"/>
                <a:gd name="T97" fmla="*/ 410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55" h="525">
                  <a:moveTo>
                    <a:pt x="299" y="380"/>
                  </a:moveTo>
                  <a:cubicBezTo>
                    <a:pt x="292" y="382"/>
                    <a:pt x="289" y="379"/>
                    <a:pt x="285" y="377"/>
                  </a:cubicBezTo>
                  <a:cubicBezTo>
                    <a:pt x="276" y="378"/>
                    <a:pt x="266" y="382"/>
                    <a:pt x="264" y="374"/>
                  </a:cubicBezTo>
                  <a:cubicBezTo>
                    <a:pt x="262" y="364"/>
                    <a:pt x="274" y="365"/>
                    <a:pt x="279" y="360"/>
                  </a:cubicBezTo>
                  <a:cubicBezTo>
                    <a:pt x="279" y="357"/>
                    <a:pt x="277" y="356"/>
                    <a:pt x="275" y="355"/>
                  </a:cubicBezTo>
                  <a:cubicBezTo>
                    <a:pt x="283" y="351"/>
                    <a:pt x="287" y="365"/>
                    <a:pt x="289" y="373"/>
                  </a:cubicBezTo>
                  <a:cubicBezTo>
                    <a:pt x="293" y="375"/>
                    <a:pt x="299" y="374"/>
                    <a:pt x="303" y="376"/>
                  </a:cubicBezTo>
                  <a:cubicBezTo>
                    <a:pt x="304" y="370"/>
                    <a:pt x="304" y="361"/>
                    <a:pt x="302" y="356"/>
                  </a:cubicBezTo>
                  <a:cubicBezTo>
                    <a:pt x="300" y="355"/>
                    <a:pt x="299" y="359"/>
                    <a:pt x="298" y="356"/>
                  </a:cubicBezTo>
                  <a:cubicBezTo>
                    <a:pt x="297" y="345"/>
                    <a:pt x="286" y="343"/>
                    <a:pt x="283" y="334"/>
                  </a:cubicBezTo>
                  <a:cubicBezTo>
                    <a:pt x="277" y="335"/>
                    <a:pt x="275" y="331"/>
                    <a:pt x="270" y="331"/>
                  </a:cubicBezTo>
                  <a:cubicBezTo>
                    <a:pt x="269" y="328"/>
                    <a:pt x="267" y="321"/>
                    <a:pt x="271" y="320"/>
                  </a:cubicBezTo>
                  <a:cubicBezTo>
                    <a:pt x="280" y="323"/>
                    <a:pt x="283" y="316"/>
                    <a:pt x="289" y="313"/>
                  </a:cubicBezTo>
                  <a:cubicBezTo>
                    <a:pt x="291" y="318"/>
                    <a:pt x="294" y="323"/>
                    <a:pt x="302" y="323"/>
                  </a:cubicBezTo>
                  <a:cubicBezTo>
                    <a:pt x="304" y="320"/>
                    <a:pt x="306" y="318"/>
                    <a:pt x="310" y="319"/>
                  </a:cubicBezTo>
                  <a:cubicBezTo>
                    <a:pt x="311" y="314"/>
                    <a:pt x="310" y="312"/>
                    <a:pt x="308" y="308"/>
                  </a:cubicBezTo>
                  <a:cubicBezTo>
                    <a:pt x="306" y="307"/>
                    <a:pt x="303" y="307"/>
                    <a:pt x="301" y="305"/>
                  </a:cubicBezTo>
                  <a:cubicBezTo>
                    <a:pt x="301" y="303"/>
                    <a:pt x="301" y="301"/>
                    <a:pt x="303" y="301"/>
                  </a:cubicBezTo>
                  <a:cubicBezTo>
                    <a:pt x="308" y="303"/>
                    <a:pt x="314" y="304"/>
                    <a:pt x="318" y="300"/>
                  </a:cubicBezTo>
                  <a:cubicBezTo>
                    <a:pt x="320" y="289"/>
                    <a:pt x="304" y="291"/>
                    <a:pt x="309" y="278"/>
                  </a:cubicBezTo>
                  <a:cubicBezTo>
                    <a:pt x="311" y="279"/>
                    <a:pt x="312" y="280"/>
                    <a:pt x="315" y="281"/>
                  </a:cubicBezTo>
                  <a:cubicBezTo>
                    <a:pt x="318" y="274"/>
                    <a:pt x="317" y="261"/>
                    <a:pt x="312" y="257"/>
                  </a:cubicBezTo>
                  <a:cubicBezTo>
                    <a:pt x="303" y="258"/>
                    <a:pt x="297" y="248"/>
                    <a:pt x="300" y="242"/>
                  </a:cubicBezTo>
                  <a:cubicBezTo>
                    <a:pt x="302" y="243"/>
                    <a:pt x="303" y="245"/>
                    <a:pt x="306" y="245"/>
                  </a:cubicBezTo>
                  <a:cubicBezTo>
                    <a:pt x="307" y="242"/>
                    <a:pt x="308" y="241"/>
                    <a:pt x="311" y="239"/>
                  </a:cubicBezTo>
                  <a:cubicBezTo>
                    <a:pt x="316" y="240"/>
                    <a:pt x="319" y="242"/>
                    <a:pt x="324" y="243"/>
                  </a:cubicBezTo>
                  <a:cubicBezTo>
                    <a:pt x="326" y="238"/>
                    <a:pt x="325" y="231"/>
                    <a:pt x="322" y="229"/>
                  </a:cubicBezTo>
                  <a:cubicBezTo>
                    <a:pt x="317" y="232"/>
                    <a:pt x="310" y="228"/>
                    <a:pt x="311" y="221"/>
                  </a:cubicBezTo>
                  <a:cubicBezTo>
                    <a:pt x="313" y="220"/>
                    <a:pt x="315" y="221"/>
                    <a:pt x="317" y="222"/>
                  </a:cubicBezTo>
                  <a:cubicBezTo>
                    <a:pt x="319" y="213"/>
                    <a:pt x="314" y="211"/>
                    <a:pt x="307" y="211"/>
                  </a:cubicBezTo>
                  <a:cubicBezTo>
                    <a:pt x="305" y="214"/>
                    <a:pt x="305" y="218"/>
                    <a:pt x="303" y="220"/>
                  </a:cubicBezTo>
                  <a:cubicBezTo>
                    <a:pt x="301" y="209"/>
                    <a:pt x="306" y="198"/>
                    <a:pt x="307" y="187"/>
                  </a:cubicBezTo>
                  <a:cubicBezTo>
                    <a:pt x="309" y="187"/>
                    <a:pt x="310" y="188"/>
                    <a:pt x="312" y="187"/>
                  </a:cubicBezTo>
                  <a:cubicBezTo>
                    <a:pt x="316" y="181"/>
                    <a:pt x="313" y="167"/>
                    <a:pt x="317" y="162"/>
                  </a:cubicBezTo>
                  <a:cubicBezTo>
                    <a:pt x="324" y="162"/>
                    <a:pt x="327" y="157"/>
                    <a:pt x="326" y="150"/>
                  </a:cubicBezTo>
                  <a:cubicBezTo>
                    <a:pt x="319" y="147"/>
                    <a:pt x="312" y="151"/>
                    <a:pt x="311" y="152"/>
                  </a:cubicBezTo>
                  <a:cubicBezTo>
                    <a:pt x="308" y="136"/>
                    <a:pt x="320" y="135"/>
                    <a:pt x="333" y="135"/>
                  </a:cubicBezTo>
                  <a:cubicBezTo>
                    <a:pt x="340" y="122"/>
                    <a:pt x="343" y="106"/>
                    <a:pt x="355" y="99"/>
                  </a:cubicBezTo>
                  <a:cubicBezTo>
                    <a:pt x="355" y="84"/>
                    <a:pt x="347" y="78"/>
                    <a:pt x="332" y="78"/>
                  </a:cubicBezTo>
                  <a:cubicBezTo>
                    <a:pt x="328" y="82"/>
                    <a:pt x="328" y="91"/>
                    <a:pt x="322" y="93"/>
                  </a:cubicBezTo>
                  <a:cubicBezTo>
                    <a:pt x="320" y="92"/>
                    <a:pt x="318" y="91"/>
                    <a:pt x="315" y="90"/>
                  </a:cubicBezTo>
                  <a:cubicBezTo>
                    <a:pt x="303" y="100"/>
                    <a:pt x="299" y="117"/>
                    <a:pt x="289" y="129"/>
                  </a:cubicBezTo>
                  <a:cubicBezTo>
                    <a:pt x="285" y="108"/>
                    <a:pt x="308" y="96"/>
                    <a:pt x="299" y="75"/>
                  </a:cubicBezTo>
                  <a:cubicBezTo>
                    <a:pt x="292" y="79"/>
                    <a:pt x="289" y="86"/>
                    <a:pt x="283" y="90"/>
                  </a:cubicBezTo>
                  <a:cubicBezTo>
                    <a:pt x="280" y="87"/>
                    <a:pt x="279" y="82"/>
                    <a:pt x="275" y="79"/>
                  </a:cubicBezTo>
                  <a:cubicBezTo>
                    <a:pt x="264" y="82"/>
                    <a:pt x="246" y="80"/>
                    <a:pt x="240" y="88"/>
                  </a:cubicBezTo>
                  <a:cubicBezTo>
                    <a:pt x="233" y="68"/>
                    <a:pt x="252" y="66"/>
                    <a:pt x="264" y="62"/>
                  </a:cubicBezTo>
                  <a:cubicBezTo>
                    <a:pt x="269" y="63"/>
                    <a:pt x="275" y="64"/>
                    <a:pt x="280" y="65"/>
                  </a:cubicBezTo>
                  <a:cubicBezTo>
                    <a:pt x="290" y="61"/>
                    <a:pt x="303" y="58"/>
                    <a:pt x="298" y="42"/>
                  </a:cubicBezTo>
                  <a:cubicBezTo>
                    <a:pt x="293" y="40"/>
                    <a:pt x="291" y="32"/>
                    <a:pt x="284" y="34"/>
                  </a:cubicBezTo>
                  <a:cubicBezTo>
                    <a:pt x="280" y="28"/>
                    <a:pt x="278" y="20"/>
                    <a:pt x="275" y="13"/>
                  </a:cubicBezTo>
                  <a:cubicBezTo>
                    <a:pt x="270" y="12"/>
                    <a:pt x="266" y="8"/>
                    <a:pt x="261" y="6"/>
                  </a:cubicBezTo>
                  <a:cubicBezTo>
                    <a:pt x="260" y="6"/>
                    <a:pt x="260" y="8"/>
                    <a:pt x="259" y="8"/>
                  </a:cubicBezTo>
                  <a:cubicBezTo>
                    <a:pt x="258" y="8"/>
                    <a:pt x="255" y="5"/>
                    <a:pt x="255" y="4"/>
                  </a:cubicBezTo>
                  <a:cubicBezTo>
                    <a:pt x="253" y="4"/>
                    <a:pt x="251" y="6"/>
                    <a:pt x="250" y="5"/>
                  </a:cubicBezTo>
                  <a:cubicBezTo>
                    <a:pt x="247" y="4"/>
                    <a:pt x="246" y="1"/>
                    <a:pt x="243" y="0"/>
                  </a:cubicBezTo>
                  <a:cubicBezTo>
                    <a:pt x="236" y="0"/>
                    <a:pt x="234" y="6"/>
                    <a:pt x="228" y="9"/>
                  </a:cubicBezTo>
                  <a:cubicBezTo>
                    <a:pt x="222" y="2"/>
                    <a:pt x="209" y="4"/>
                    <a:pt x="204" y="10"/>
                  </a:cubicBezTo>
                  <a:cubicBezTo>
                    <a:pt x="204" y="20"/>
                    <a:pt x="205" y="28"/>
                    <a:pt x="203" y="37"/>
                  </a:cubicBezTo>
                  <a:cubicBezTo>
                    <a:pt x="193" y="34"/>
                    <a:pt x="194" y="20"/>
                    <a:pt x="184" y="17"/>
                  </a:cubicBezTo>
                  <a:cubicBezTo>
                    <a:pt x="178" y="20"/>
                    <a:pt x="176" y="26"/>
                    <a:pt x="167" y="26"/>
                  </a:cubicBezTo>
                  <a:cubicBezTo>
                    <a:pt x="162" y="35"/>
                    <a:pt x="171" y="42"/>
                    <a:pt x="172" y="53"/>
                  </a:cubicBezTo>
                  <a:cubicBezTo>
                    <a:pt x="173" y="63"/>
                    <a:pt x="170" y="79"/>
                    <a:pt x="168" y="84"/>
                  </a:cubicBezTo>
                  <a:cubicBezTo>
                    <a:pt x="156" y="77"/>
                    <a:pt x="150" y="63"/>
                    <a:pt x="140" y="53"/>
                  </a:cubicBezTo>
                  <a:cubicBezTo>
                    <a:pt x="137" y="53"/>
                    <a:pt x="135" y="53"/>
                    <a:pt x="133" y="52"/>
                  </a:cubicBezTo>
                  <a:cubicBezTo>
                    <a:pt x="130" y="64"/>
                    <a:pt x="140" y="76"/>
                    <a:pt x="137" y="86"/>
                  </a:cubicBezTo>
                  <a:cubicBezTo>
                    <a:pt x="132" y="80"/>
                    <a:pt x="130" y="71"/>
                    <a:pt x="121" y="69"/>
                  </a:cubicBezTo>
                  <a:cubicBezTo>
                    <a:pt x="119" y="76"/>
                    <a:pt x="123" y="90"/>
                    <a:pt x="117" y="94"/>
                  </a:cubicBezTo>
                  <a:cubicBezTo>
                    <a:pt x="116" y="82"/>
                    <a:pt x="121" y="63"/>
                    <a:pt x="111" y="60"/>
                  </a:cubicBezTo>
                  <a:cubicBezTo>
                    <a:pt x="104" y="64"/>
                    <a:pt x="98" y="70"/>
                    <a:pt x="90" y="74"/>
                  </a:cubicBezTo>
                  <a:cubicBezTo>
                    <a:pt x="89" y="83"/>
                    <a:pt x="99" y="90"/>
                    <a:pt x="94" y="96"/>
                  </a:cubicBezTo>
                  <a:cubicBezTo>
                    <a:pt x="88" y="90"/>
                    <a:pt x="86" y="77"/>
                    <a:pt x="74" y="79"/>
                  </a:cubicBezTo>
                  <a:cubicBezTo>
                    <a:pt x="72" y="88"/>
                    <a:pt x="75" y="99"/>
                    <a:pt x="73" y="107"/>
                  </a:cubicBezTo>
                  <a:cubicBezTo>
                    <a:pt x="70" y="107"/>
                    <a:pt x="67" y="109"/>
                    <a:pt x="63" y="108"/>
                  </a:cubicBezTo>
                  <a:cubicBezTo>
                    <a:pt x="49" y="114"/>
                    <a:pt x="26" y="133"/>
                    <a:pt x="41" y="150"/>
                  </a:cubicBezTo>
                  <a:cubicBezTo>
                    <a:pt x="44" y="150"/>
                    <a:pt x="44" y="147"/>
                    <a:pt x="49" y="148"/>
                  </a:cubicBezTo>
                  <a:cubicBezTo>
                    <a:pt x="55" y="153"/>
                    <a:pt x="50" y="170"/>
                    <a:pt x="47" y="176"/>
                  </a:cubicBezTo>
                  <a:cubicBezTo>
                    <a:pt x="37" y="174"/>
                    <a:pt x="27" y="179"/>
                    <a:pt x="24" y="187"/>
                  </a:cubicBezTo>
                  <a:cubicBezTo>
                    <a:pt x="11" y="188"/>
                    <a:pt x="0" y="202"/>
                    <a:pt x="11" y="213"/>
                  </a:cubicBezTo>
                  <a:cubicBezTo>
                    <a:pt x="12" y="213"/>
                    <a:pt x="14" y="213"/>
                    <a:pt x="16" y="213"/>
                  </a:cubicBezTo>
                  <a:cubicBezTo>
                    <a:pt x="18" y="217"/>
                    <a:pt x="19" y="221"/>
                    <a:pt x="22" y="223"/>
                  </a:cubicBezTo>
                  <a:cubicBezTo>
                    <a:pt x="29" y="221"/>
                    <a:pt x="36" y="223"/>
                    <a:pt x="40" y="217"/>
                  </a:cubicBezTo>
                  <a:cubicBezTo>
                    <a:pt x="43" y="219"/>
                    <a:pt x="43" y="223"/>
                    <a:pt x="43" y="228"/>
                  </a:cubicBezTo>
                  <a:cubicBezTo>
                    <a:pt x="36" y="237"/>
                    <a:pt x="19" y="225"/>
                    <a:pt x="12" y="233"/>
                  </a:cubicBezTo>
                  <a:cubicBezTo>
                    <a:pt x="14" y="242"/>
                    <a:pt x="24" y="243"/>
                    <a:pt x="31" y="245"/>
                  </a:cubicBezTo>
                  <a:cubicBezTo>
                    <a:pt x="31" y="250"/>
                    <a:pt x="28" y="251"/>
                    <a:pt x="26" y="255"/>
                  </a:cubicBezTo>
                  <a:cubicBezTo>
                    <a:pt x="32" y="258"/>
                    <a:pt x="34" y="264"/>
                    <a:pt x="42" y="264"/>
                  </a:cubicBezTo>
                  <a:cubicBezTo>
                    <a:pt x="43" y="261"/>
                    <a:pt x="40" y="258"/>
                    <a:pt x="42" y="257"/>
                  </a:cubicBezTo>
                  <a:cubicBezTo>
                    <a:pt x="44" y="258"/>
                    <a:pt x="45" y="260"/>
                    <a:pt x="49" y="260"/>
                  </a:cubicBezTo>
                  <a:cubicBezTo>
                    <a:pt x="61" y="246"/>
                    <a:pt x="76" y="261"/>
                    <a:pt x="87" y="267"/>
                  </a:cubicBezTo>
                  <a:cubicBezTo>
                    <a:pt x="90" y="270"/>
                    <a:pt x="90" y="275"/>
                    <a:pt x="90" y="281"/>
                  </a:cubicBezTo>
                  <a:cubicBezTo>
                    <a:pt x="92" y="283"/>
                    <a:pt x="95" y="285"/>
                    <a:pt x="97" y="288"/>
                  </a:cubicBezTo>
                  <a:cubicBezTo>
                    <a:pt x="101" y="304"/>
                    <a:pt x="106" y="318"/>
                    <a:pt x="111" y="333"/>
                  </a:cubicBezTo>
                  <a:cubicBezTo>
                    <a:pt x="109" y="333"/>
                    <a:pt x="109" y="331"/>
                    <a:pt x="106" y="332"/>
                  </a:cubicBezTo>
                  <a:cubicBezTo>
                    <a:pt x="108" y="343"/>
                    <a:pt x="100" y="362"/>
                    <a:pt x="112" y="360"/>
                  </a:cubicBezTo>
                  <a:cubicBezTo>
                    <a:pt x="117" y="359"/>
                    <a:pt x="115" y="352"/>
                    <a:pt x="120" y="350"/>
                  </a:cubicBezTo>
                  <a:cubicBezTo>
                    <a:pt x="120" y="353"/>
                    <a:pt x="126" y="352"/>
                    <a:pt x="127" y="355"/>
                  </a:cubicBezTo>
                  <a:cubicBezTo>
                    <a:pt x="126" y="356"/>
                    <a:pt x="125" y="357"/>
                    <a:pt x="125" y="359"/>
                  </a:cubicBezTo>
                  <a:cubicBezTo>
                    <a:pt x="130" y="362"/>
                    <a:pt x="131" y="371"/>
                    <a:pt x="133" y="377"/>
                  </a:cubicBezTo>
                  <a:cubicBezTo>
                    <a:pt x="128" y="373"/>
                    <a:pt x="120" y="366"/>
                    <a:pt x="112" y="369"/>
                  </a:cubicBezTo>
                  <a:cubicBezTo>
                    <a:pt x="115" y="379"/>
                    <a:pt x="126" y="381"/>
                    <a:pt x="134" y="386"/>
                  </a:cubicBezTo>
                  <a:cubicBezTo>
                    <a:pt x="132" y="392"/>
                    <a:pt x="134" y="393"/>
                    <a:pt x="135" y="398"/>
                  </a:cubicBezTo>
                  <a:cubicBezTo>
                    <a:pt x="131" y="398"/>
                    <a:pt x="133" y="404"/>
                    <a:pt x="131" y="407"/>
                  </a:cubicBezTo>
                  <a:cubicBezTo>
                    <a:pt x="126" y="408"/>
                    <a:pt x="125" y="402"/>
                    <a:pt x="121" y="405"/>
                  </a:cubicBezTo>
                  <a:cubicBezTo>
                    <a:pt x="123" y="412"/>
                    <a:pt x="132" y="412"/>
                    <a:pt x="135" y="417"/>
                  </a:cubicBezTo>
                  <a:cubicBezTo>
                    <a:pt x="134" y="418"/>
                    <a:pt x="135" y="422"/>
                    <a:pt x="134" y="422"/>
                  </a:cubicBezTo>
                  <a:cubicBezTo>
                    <a:pt x="129" y="420"/>
                    <a:pt x="122" y="416"/>
                    <a:pt x="117" y="421"/>
                  </a:cubicBezTo>
                  <a:cubicBezTo>
                    <a:pt x="119" y="426"/>
                    <a:pt x="117" y="427"/>
                    <a:pt x="118" y="431"/>
                  </a:cubicBezTo>
                  <a:cubicBezTo>
                    <a:pt x="119" y="433"/>
                    <a:pt x="124" y="430"/>
                    <a:pt x="124" y="434"/>
                  </a:cubicBezTo>
                  <a:cubicBezTo>
                    <a:pt x="124" y="438"/>
                    <a:pt x="118" y="435"/>
                    <a:pt x="118" y="439"/>
                  </a:cubicBezTo>
                  <a:cubicBezTo>
                    <a:pt x="117" y="442"/>
                    <a:pt x="122" y="439"/>
                    <a:pt x="121" y="441"/>
                  </a:cubicBezTo>
                  <a:cubicBezTo>
                    <a:pt x="117" y="445"/>
                    <a:pt x="121" y="453"/>
                    <a:pt x="125" y="454"/>
                  </a:cubicBezTo>
                  <a:cubicBezTo>
                    <a:pt x="126" y="458"/>
                    <a:pt x="127" y="463"/>
                    <a:pt x="126" y="469"/>
                  </a:cubicBezTo>
                  <a:cubicBezTo>
                    <a:pt x="130" y="471"/>
                    <a:pt x="132" y="461"/>
                    <a:pt x="137" y="464"/>
                  </a:cubicBezTo>
                  <a:cubicBezTo>
                    <a:pt x="136" y="470"/>
                    <a:pt x="129" y="470"/>
                    <a:pt x="129" y="478"/>
                  </a:cubicBezTo>
                  <a:cubicBezTo>
                    <a:pt x="134" y="479"/>
                    <a:pt x="133" y="485"/>
                    <a:pt x="138" y="487"/>
                  </a:cubicBezTo>
                  <a:cubicBezTo>
                    <a:pt x="137" y="489"/>
                    <a:pt x="137" y="491"/>
                    <a:pt x="137" y="494"/>
                  </a:cubicBezTo>
                  <a:cubicBezTo>
                    <a:pt x="138" y="496"/>
                    <a:pt x="142" y="495"/>
                    <a:pt x="143" y="497"/>
                  </a:cubicBezTo>
                  <a:cubicBezTo>
                    <a:pt x="139" y="506"/>
                    <a:pt x="150" y="507"/>
                    <a:pt x="151" y="515"/>
                  </a:cubicBezTo>
                  <a:cubicBezTo>
                    <a:pt x="154" y="512"/>
                    <a:pt x="160" y="512"/>
                    <a:pt x="163" y="510"/>
                  </a:cubicBezTo>
                  <a:cubicBezTo>
                    <a:pt x="164" y="513"/>
                    <a:pt x="162" y="514"/>
                    <a:pt x="163" y="516"/>
                  </a:cubicBezTo>
                  <a:cubicBezTo>
                    <a:pt x="167" y="517"/>
                    <a:pt x="169" y="520"/>
                    <a:pt x="169" y="525"/>
                  </a:cubicBezTo>
                  <a:cubicBezTo>
                    <a:pt x="172" y="525"/>
                    <a:pt x="170" y="522"/>
                    <a:pt x="172" y="521"/>
                  </a:cubicBezTo>
                  <a:cubicBezTo>
                    <a:pt x="175" y="521"/>
                    <a:pt x="175" y="525"/>
                    <a:pt x="179" y="525"/>
                  </a:cubicBezTo>
                  <a:cubicBezTo>
                    <a:pt x="180" y="521"/>
                    <a:pt x="178" y="519"/>
                    <a:pt x="177" y="516"/>
                  </a:cubicBezTo>
                  <a:cubicBezTo>
                    <a:pt x="179" y="516"/>
                    <a:pt x="180" y="516"/>
                    <a:pt x="181" y="516"/>
                  </a:cubicBezTo>
                  <a:cubicBezTo>
                    <a:pt x="180" y="513"/>
                    <a:pt x="180" y="509"/>
                    <a:pt x="179" y="507"/>
                  </a:cubicBezTo>
                  <a:cubicBezTo>
                    <a:pt x="188" y="505"/>
                    <a:pt x="181" y="491"/>
                    <a:pt x="179" y="490"/>
                  </a:cubicBezTo>
                  <a:cubicBezTo>
                    <a:pt x="182" y="489"/>
                    <a:pt x="182" y="489"/>
                    <a:pt x="186" y="490"/>
                  </a:cubicBezTo>
                  <a:cubicBezTo>
                    <a:pt x="186" y="488"/>
                    <a:pt x="186" y="486"/>
                    <a:pt x="186" y="484"/>
                  </a:cubicBezTo>
                  <a:cubicBezTo>
                    <a:pt x="187" y="485"/>
                    <a:pt x="188" y="485"/>
                    <a:pt x="189" y="484"/>
                  </a:cubicBezTo>
                  <a:cubicBezTo>
                    <a:pt x="189" y="482"/>
                    <a:pt x="189" y="480"/>
                    <a:pt x="189" y="478"/>
                  </a:cubicBezTo>
                  <a:cubicBezTo>
                    <a:pt x="191" y="479"/>
                    <a:pt x="192" y="478"/>
                    <a:pt x="193" y="477"/>
                  </a:cubicBezTo>
                  <a:cubicBezTo>
                    <a:pt x="194" y="472"/>
                    <a:pt x="189" y="472"/>
                    <a:pt x="189" y="469"/>
                  </a:cubicBezTo>
                  <a:cubicBezTo>
                    <a:pt x="190" y="469"/>
                    <a:pt x="192" y="469"/>
                    <a:pt x="194" y="469"/>
                  </a:cubicBezTo>
                  <a:cubicBezTo>
                    <a:pt x="195" y="464"/>
                    <a:pt x="191" y="461"/>
                    <a:pt x="192" y="459"/>
                  </a:cubicBezTo>
                  <a:cubicBezTo>
                    <a:pt x="195" y="460"/>
                    <a:pt x="196" y="460"/>
                    <a:pt x="198" y="459"/>
                  </a:cubicBezTo>
                  <a:cubicBezTo>
                    <a:pt x="198" y="456"/>
                    <a:pt x="197" y="455"/>
                    <a:pt x="197" y="452"/>
                  </a:cubicBezTo>
                  <a:cubicBezTo>
                    <a:pt x="199" y="451"/>
                    <a:pt x="203" y="451"/>
                    <a:pt x="205" y="450"/>
                  </a:cubicBezTo>
                  <a:cubicBezTo>
                    <a:pt x="208" y="448"/>
                    <a:pt x="209" y="443"/>
                    <a:pt x="209" y="441"/>
                  </a:cubicBezTo>
                  <a:cubicBezTo>
                    <a:pt x="214" y="441"/>
                    <a:pt x="208" y="448"/>
                    <a:pt x="209" y="451"/>
                  </a:cubicBezTo>
                  <a:cubicBezTo>
                    <a:pt x="211" y="452"/>
                    <a:pt x="214" y="446"/>
                    <a:pt x="218" y="450"/>
                  </a:cubicBezTo>
                  <a:cubicBezTo>
                    <a:pt x="219" y="447"/>
                    <a:pt x="221" y="445"/>
                    <a:pt x="221" y="441"/>
                  </a:cubicBezTo>
                  <a:cubicBezTo>
                    <a:pt x="234" y="444"/>
                    <a:pt x="232" y="420"/>
                    <a:pt x="242" y="416"/>
                  </a:cubicBezTo>
                  <a:cubicBezTo>
                    <a:pt x="243" y="413"/>
                    <a:pt x="239" y="409"/>
                    <a:pt x="242" y="408"/>
                  </a:cubicBezTo>
                  <a:cubicBezTo>
                    <a:pt x="244" y="411"/>
                    <a:pt x="245" y="417"/>
                    <a:pt x="251" y="417"/>
                  </a:cubicBezTo>
                  <a:cubicBezTo>
                    <a:pt x="254" y="416"/>
                    <a:pt x="253" y="412"/>
                    <a:pt x="255" y="410"/>
                  </a:cubicBezTo>
                  <a:cubicBezTo>
                    <a:pt x="266" y="412"/>
                    <a:pt x="280" y="404"/>
                    <a:pt x="284" y="394"/>
                  </a:cubicBezTo>
                  <a:cubicBezTo>
                    <a:pt x="292" y="392"/>
                    <a:pt x="297" y="387"/>
                    <a:pt x="299" y="38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1" name="Freeform 107"/>
            <p:cNvSpPr>
              <a:spLocks/>
            </p:cNvSpPr>
            <p:nvPr/>
          </p:nvSpPr>
          <p:spPr bwMode="auto">
            <a:xfrm>
              <a:off x="2792067" y="1309679"/>
              <a:ext cx="607415" cy="850424"/>
            </a:xfrm>
            <a:custGeom>
              <a:avLst/>
              <a:gdLst>
                <a:gd name="T0" fmla="*/ 13 w 177"/>
                <a:gd name="T1" fmla="*/ 90 h 239"/>
                <a:gd name="T2" fmla="*/ 14 w 177"/>
                <a:gd name="T3" fmla="*/ 101 h 239"/>
                <a:gd name="T4" fmla="*/ 38 w 177"/>
                <a:gd name="T5" fmla="*/ 89 h 239"/>
                <a:gd name="T6" fmla="*/ 48 w 177"/>
                <a:gd name="T7" fmla="*/ 103 h 239"/>
                <a:gd name="T8" fmla="*/ 80 w 177"/>
                <a:gd name="T9" fmla="*/ 103 h 239"/>
                <a:gd name="T10" fmla="*/ 59 w 177"/>
                <a:gd name="T11" fmla="*/ 140 h 239"/>
                <a:gd name="T12" fmla="*/ 34 w 177"/>
                <a:gd name="T13" fmla="*/ 142 h 239"/>
                <a:gd name="T14" fmla="*/ 55 w 177"/>
                <a:gd name="T15" fmla="*/ 169 h 239"/>
                <a:gd name="T16" fmla="*/ 31 w 177"/>
                <a:gd name="T17" fmla="*/ 164 h 239"/>
                <a:gd name="T18" fmla="*/ 31 w 177"/>
                <a:gd name="T19" fmla="*/ 184 h 239"/>
                <a:gd name="T20" fmla="*/ 38 w 177"/>
                <a:gd name="T21" fmla="*/ 201 h 239"/>
                <a:gd name="T22" fmla="*/ 46 w 177"/>
                <a:gd name="T23" fmla="*/ 209 h 239"/>
                <a:gd name="T24" fmla="*/ 21 w 177"/>
                <a:gd name="T25" fmla="*/ 193 h 239"/>
                <a:gd name="T26" fmla="*/ 15 w 177"/>
                <a:gd name="T27" fmla="*/ 217 h 239"/>
                <a:gd name="T28" fmla="*/ 11 w 177"/>
                <a:gd name="T29" fmla="*/ 229 h 239"/>
                <a:gd name="T30" fmla="*/ 22 w 177"/>
                <a:gd name="T31" fmla="*/ 229 h 239"/>
                <a:gd name="T32" fmla="*/ 55 w 177"/>
                <a:gd name="T33" fmla="*/ 233 h 239"/>
                <a:gd name="T34" fmla="*/ 59 w 177"/>
                <a:gd name="T35" fmla="*/ 229 h 239"/>
                <a:gd name="T36" fmla="*/ 79 w 177"/>
                <a:gd name="T37" fmla="*/ 215 h 239"/>
                <a:gd name="T38" fmla="*/ 60 w 177"/>
                <a:gd name="T39" fmla="*/ 205 h 239"/>
                <a:gd name="T40" fmla="*/ 79 w 177"/>
                <a:gd name="T41" fmla="*/ 192 h 239"/>
                <a:gd name="T42" fmla="*/ 88 w 177"/>
                <a:gd name="T43" fmla="*/ 182 h 239"/>
                <a:gd name="T44" fmla="*/ 94 w 177"/>
                <a:gd name="T45" fmla="*/ 173 h 239"/>
                <a:gd name="T46" fmla="*/ 84 w 177"/>
                <a:gd name="T47" fmla="*/ 149 h 239"/>
                <a:gd name="T48" fmla="*/ 107 w 177"/>
                <a:gd name="T49" fmla="*/ 145 h 239"/>
                <a:gd name="T50" fmla="*/ 124 w 177"/>
                <a:gd name="T51" fmla="*/ 113 h 239"/>
                <a:gd name="T52" fmla="*/ 148 w 177"/>
                <a:gd name="T53" fmla="*/ 85 h 239"/>
                <a:gd name="T54" fmla="*/ 154 w 177"/>
                <a:gd name="T55" fmla="*/ 76 h 239"/>
                <a:gd name="T56" fmla="*/ 141 w 177"/>
                <a:gd name="T57" fmla="*/ 71 h 239"/>
                <a:gd name="T58" fmla="*/ 161 w 177"/>
                <a:gd name="T59" fmla="*/ 56 h 239"/>
                <a:gd name="T60" fmla="*/ 174 w 177"/>
                <a:gd name="T61" fmla="*/ 42 h 239"/>
                <a:gd name="T62" fmla="*/ 154 w 177"/>
                <a:gd name="T63" fmla="*/ 14 h 239"/>
                <a:gd name="T64" fmla="*/ 121 w 177"/>
                <a:gd name="T65" fmla="*/ 0 h 239"/>
                <a:gd name="T66" fmla="*/ 118 w 177"/>
                <a:gd name="T67" fmla="*/ 13 h 239"/>
                <a:gd name="T68" fmla="*/ 105 w 177"/>
                <a:gd name="T69" fmla="*/ 17 h 239"/>
                <a:gd name="T70" fmla="*/ 90 w 177"/>
                <a:gd name="T71" fmla="*/ 28 h 239"/>
                <a:gd name="T72" fmla="*/ 62 w 177"/>
                <a:gd name="T73" fmla="*/ 18 h 239"/>
                <a:gd name="T74" fmla="*/ 28 w 177"/>
                <a:gd name="T75" fmla="*/ 53 h 239"/>
                <a:gd name="T76" fmla="*/ 3 w 177"/>
                <a:gd name="T77" fmla="*/ 55 h 239"/>
                <a:gd name="T78" fmla="*/ 4 w 177"/>
                <a:gd name="T79" fmla="*/ 79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77" h="239">
                  <a:moveTo>
                    <a:pt x="11" y="79"/>
                  </a:moveTo>
                  <a:cubicBezTo>
                    <a:pt x="12" y="83"/>
                    <a:pt x="12" y="87"/>
                    <a:pt x="13" y="90"/>
                  </a:cubicBezTo>
                  <a:cubicBezTo>
                    <a:pt x="11" y="89"/>
                    <a:pt x="12" y="92"/>
                    <a:pt x="10" y="93"/>
                  </a:cubicBezTo>
                  <a:cubicBezTo>
                    <a:pt x="12" y="95"/>
                    <a:pt x="10" y="101"/>
                    <a:pt x="14" y="101"/>
                  </a:cubicBezTo>
                  <a:cubicBezTo>
                    <a:pt x="18" y="92"/>
                    <a:pt x="24" y="85"/>
                    <a:pt x="32" y="81"/>
                  </a:cubicBezTo>
                  <a:cubicBezTo>
                    <a:pt x="35" y="81"/>
                    <a:pt x="38" y="85"/>
                    <a:pt x="38" y="89"/>
                  </a:cubicBezTo>
                  <a:cubicBezTo>
                    <a:pt x="34" y="93"/>
                    <a:pt x="34" y="105"/>
                    <a:pt x="35" y="112"/>
                  </a:cubicBezTo>
                  <a:cubicBezTo>
                    <a:pt x="36" y="106"/>
                    <a:pt x="44" y="103"/>
                    <a:pt x="48" y="103"/>
                  </a:cubicBezTo>
                  <a:cubicBezTo>
                    <a:pt x="48" y="105"/>
                    <a:pt x="51" y="104"/>
                    <a:pt x="50" y="107"/>
                  </a:cubicBezTo>
                  <a:cubicBezTo>
                    <a:pt x="62" y="105"/>
                    <a:pt x="73" y="84"/>
                    <a:pt x="80" y="103"/>
                  </a:cubicBezTo>
                  <a:cubicBezTo>
                    <a:pt x="66" y="107"/>
                    <a:pt x="54" y="112"/>
                    <a:pt x="53" y="129"/>
                  </a:cubicBezTo>
                  <a:cubicBezTo>
                    <a:pt x="55" y="132"/>
                    <a:pt x="63" y="136"/>
                    <a:pt x="59" y="140"/>
                  </a:cubicBezTo>
                  <a:cubicBezTo>
                    <a:pt x="53" y="129"/>
                    <a:pt x="48" y="119"/>
                    <a:pt x="31" y="120"/>
                  </a:cubicBezTo>
                  <a:cubicBezTo>
                    <a:pt x="28" y="130"/>
                    <a:pt x="32" y="133"/>
                    <a:pt x="34" y="142"/>
                  </a:cubicBezTo>
                  <a:cubicBezTo>
                    <a:pt x="36" y="142"/>
                    <a:pt x="36" y="141"/>
                    <a:pt x="36" y="140"/>
                  </a:cubicBezTo>
                  <a:cubicBezTo>
                    <a:pt x="39" y="154"/>
                    <a:pt x="49" y="158"/>
                    <a:pt x="55" y="169"/>
                  </a:cubicBezTo>
                  <a:cubicBezTo>
                    <a:pt x="54" y="169"/>
                    <a:pt x="54" y="170"/>
                    <a:pt x="53" y="171"/>
                  </a:cubicBezTo>
                  <a:cubicBezTo>
                    <a:pt x="48" y="165"/>
                    <a:pt x="38" y="162"/>
                    <a:pt x="31" y="164"/>
                  </a:cubicBezTo>
                  <a:cubicBezTo>
                    <a:pt x="28" y="171"/>
                    <a:pt x="25" y="178"/>
                    <a:pt x="27" y="187"/>
                  </a:cubicBezTo>
                  <a:cubicBezTo>
                    <a:pt x="29" y="187"/>
                    <a:pt x="29" y="184"/>
                    <a:pt x="31" y="184"/>
                  </a:cubicBezTo>
                  <a:cubicBezTo>
                    <a:pt x="33" y="186"/>
                    <a:pt x="36" y="186"/>
                    <a:pt x="38" y="188"/>
                  </a:cubicBezTo>
                  <a:cubicBezTo>
                    <a:pt x="38" y="194"/>
                    <a:pt x="37" y="195"/>
                    <a:pt x="38" y="201"/>
                  </a:cubicBezTo>
                  <a:cubicBezTo>
                    <a:pt x="41" y="203"/>
                    <a:pt x="45" y="203"/>
                    <a:pt x="48" y="202"/>
                  </a:cubicBezTo>
                  <a:cubicBezTo>
                    <a:pt x="46" y="205"/>
                    <a:pt x="48" y="208"/>
                    <a:pt x="46" y="209"/>
                  </a:cubicBezTo>
                  <a:cubicBezTo>
                    <a:pt x="35" y="210"/>
                    <a:pt x="36" y="199"/>
                    <a:pt x="30" y="194"/>
                  </a:cubicBezTo>
                  <a:cubicBezTo>
                    <a:pt x="27" y="195"/>
                    <a:pt x="25" y="193"/>
                    <a:pt x="21" y="193"/>
                  </a:cubicBezTo>
                  <a:cubicBezTo>
                    <a:pt x="17" y="199"/>
                    <a:pt x="22" y="206"/>
                    <a:pt x="25" y="211"/>
                  </a:cubicBezTo>
                  <a:cubicBezTo>
                    <a:pt x="20" y="211"/>
                    <a:pt x="16" y="216"/>
                    <a:pt x="15" y="217"/>
                  </a:cubicBezTo>
                  <a:cubicBezTo>
                    <a:pt x="15" y="217"/>
                    <a:pt x="14" y="216"/>
                    <a:pt x="13" y="217"/>
                  </a:cubicBezTo>
                  <a:cubicBezTo>
                    <a:pt x="12" y="219"/>
                    <a:pt x="13" y="223"/>
                    <a:pt x="11" y="229"/>
                  </a:cubicBezTo>
                  <a:cubicBezTo>
                    <a:pt x="14" y="230"/>
                    <a:pt x="15" y="232"/>
                    <a:pt x="19" y="233"/>
                  </a:cubicBezTo>
                  <a:cubicBezTo>
                    <a:pt x="21" y="232"/>
                    <a:pt x="20" y="229"/>
                    <a:pt x="22" y="229"/>
                  </a:cubicBezTo>
                  <a:cubicBezTo>
                    <a:pt x="26" y="235"/>
                    <a:pt x="45" y="236"/>
                    <a:pt x="43" y="228"/>
                  </a:cubicBezTo>
                  <a:cubicBezTo>
                    <a:pt x="44" y="232"/>
                    <a:pt x="49" y="233"/>
                    <a:pt x="55" y="233"/>
                  </a:cubicBezTo>
                  <a:cubicBezTo>
                    <a:pt x="56" y="230"/>
                    <a:pt x="52" y="228"/>
                    <a:pt x="55" y="227"/>
                  </a:cubicBezTo>
                  <a:cubicBezTo>
                    <a:pt x="56" y="228"/>
                    <a:pt x="58" y="228"/>
                    <a:pt x="59" y="229"/>
                  </a:cubicBezTo>
                  <a:cubicBezTo>
                    <a:pt x="60" y="232"/>
                    <a:pt x="61" y="235"/>
                    <a:pt x="61" y="239"/>
                  </a:cubicBezTo>
                  <a:cubicBezTo>
                    <a:pt x="71" y="236"/>
                    <a:pt x="86" y="230"/>
                    <a:pt x="79" y="215"/>
                  </a:cubicBezTo>
                  <a:cubicBezTo>
                    <a:pt x="70" y="215"/>
                    <a:pt x="65" y="212"/>
                    <a:pt x="58" y="210"/>
                  </a:cubicBezTo>
                  <a:cubicBezTo>
                    <a:pt x="58" y="207"/>
                    <a:pt x="59" y="206"/>
                    <a:pt x="60" y="205"/>
                  </a:cubicBezTo>
                  <a:cubicBezTo>
                    <a:pt x="64" y="208"/>
                    <a:pt x="70" y="208"/>
                    <a:pt x="75" y="210"/>
                  </a:cubicBezTo>
                  <a:cubicBezTo>
                    <a:pt x="80" y="206"/>
                    <a:pt x="78" y="197"/>
                    <a:pt x="79" y="192"/>
                  </a:cubicBezTo>
                  <a:cubicBezTo>
                    <a:pt x="80" y="194"/>
                    <a:pt x="86" y="193"/>
                    <a:pt x="90" y="192"/>
                  </a:cubicBezTo>
                  <a:cubicBezTo>
                    <a:pt x="92" y="189"/>
                    <a:pt x="89" y="186"/>
                    <a:pt x="88" y="182"/>
                  </a:cubicBezTo>
                  <a:cubicBezTo>
                    <a:pt x="90" y="182"/>
                    <a:pt x="92" y="182"/>
                    <a:pt x="93" y="182"/>
                  </a:cubicBezTo>
                  <a:cubicBezTo>
                    <a:pt x="93" y="179"/>
                    <a:pt x="95" y="177"/>
                    <a:pt x="94" y="173"/>
                  </a:cubicBezTo>
                  <a:cubicBezTo>
                    <a:pt x="102" y="169"/>
                    <a:pt x="99" y="155"/>
                    <a:pt x="92" y="151"/>
                  </a:cubicBezTo>
                  <a:cubicBezTo>
                    <a:pt x="88" y="150"/>
                    <a:pt x="87" y="153"/>
                    <a:pt x="84" y="149"/>
                  </a:cubicBezTo>
                  <a:cubicBezTo>
                    <a:pt x="85" y="148"/>
                    <a:pt x="85" y="145"/>
                    <a:pt x="86" y="145"/>
                  </a:cubicBezTo>
                  <a:cubicBezTo>
                    <a:pt x="92" y="145"/>
                    <a:pt x="101" y="150"/>
                    <a:pt x="107" y="145"/>
                  </a:cubicBezTo>
                  <a:cubicBezTo>
                    <a:pt x="107" y="140"/>
                    <a:pt x="99" y="137"/>
                    <a:pt x="102" y="131"/>
                  </a:cubicBezTo>
                  <a:cubicBezTo>
                    <a:pt x="114" y="143"/>
                    <a:pt x="132" y="131"/>
                    <a:pt x="124" y="113"/>
                  </a:cubicBezTo>
                  <a:cubicBezTo>
                    <a:pt x="125" y="112"/>
                    <a:pt x="127" y="112"/>
                    <a:pt x="130" y="112"/>
                  </a:cubicBezTo>
                  <a:cubicBezTo>
                    <a:pt x="133" y="104"/>
                    <a:pt x="143" y="88"/>
                    <a:pt x="148" y="85"/>
                  </a:cubicBezTo>
                  <a:cubicBezTo>
                    <a:pt x="148" y="85"/>
                    <a:pt x="148" y="82"/>
                    <a:pt x="149" y="82"/>
                  </a:cubicBezTo>
                  <a:cubicBezTo>
                    <a:pt x="151" y="80"/>
                    <a:pt x="154" y="79"/>
                    <a:pt x="154" y="76"/>
                  </a:cubicBezTo>
                  <a:cubicBezTo>
                    <a:pt x="155" y="73"/>
                    <a:pt x="152" y="69"/>
                    <a:pt x="151" y="65"/>
                  </a:cubicBezTo>
                  <a:cubicBezTo>
                    <a:pt x="147" y="64"/>
                    <a:pt x="146" y="71"/>
                    <a:pt x="141" y="71"/>
                  </a:cubicBezTo>
                  <a:cubicBezTo>
                    <a:pt x="137" y="62"/>
                    <a:pt x="141" y="55"/>
                    <a:pt x="149" y="52"/>
                  </a:cubicBezTo>
                  <a:cubicBezTo>
                    <a:pt x="153" y="52"/>
                    <a:pt x="156" y="55"/>
                    <a:pt x="161" y="56"/>
                  </a:cubicBezTo>
                  <a:cubicBezTo>
                    <a:pt x="166" y="57"/>
                    <a:pt x="167" y="49"/>
                    <a:pt x="170" y="45"/>
                  </a:cubicBezTo>
                  <a:cubicBezTo>
                    <a:pt x="171" y="43"/>
                    <a:pt x="173" y="44"/>
                    <a:pt x="174" y="42"/>
                  </a:cubicBezTo>
                  <a:cubicBezTo>
                    <a:pt x="177" y="35"/>
                    <a:pt x="173" y="30"/>
                    <a:pt x="169" y="26"/>
                  </a:cubicBezTo>
                  <a:cubicBezTo>
                    <a:pt x="163" y="24"/>
                    <a:pt x="160" y="19"/>
                    <a:pt x="154" y="14"/>
                  </a:cubicBezTo>
                  <a:cubicBezTo>
                    <a:pt x="149" y="14"/>
                    <a:pt x="143" y="14"/>
                    <a:pt x="139" y="15"/>
                  </a:cubicBezTo>
                  <a:cubicBezTo>
                    <a:pt x="133" y="10"/>
                    <a:pt x="127" y="5"/>
                    <a:pt x="121" y="0"/>
                  </a:cubicBezTo>
                  <a:cubicBezTo>
                    <a:pt x="121" y="1"/>
                    <a:pt x="120" y="2"/>
                    <a:pt x="119" y="2"/>
                  </a:cubicBezTo>
                  <a:cubicBezTo>
                    <a:pt x="116" y="4"/>
                    <a:pt x="120" y="11"/>
                    <a:pt x="118" y="13"/>
                  </a:cubicBezTo>
                  <a:cubicBezTo>
                    <a:pt x="116" y="7"/>
                    <a:pt x="114" y="3"/>
                    <a:pt x="105" y="4"/>
                  </a:cubicBezTo>
                  <a:cubicBezTo>
                    <a:pt x="103" y="9"/>
                    <a:pt x="107" y="13"/>
                    <a:pt x="105" y="17"/>
                  </a:cubicBezTo>
                  <a:cubicBezTo>
                    <a:pt x="103" y="8"/>
                    <a:pt x="94" y="6"/>
                    <a:pt x="88" y="2"/>
                  </a:cubicBezTo>
                  <a:cubicBezTo>
                    <a:pt x="82" y="11"/>
                    <a:pt x="92" y="19"/>
                    <a:pt x="90" y="28"/>
                  </a:cubicBezTo>
                  <a:cubicBezTo>
                    <a:pt x="88" y="19"/>
                    <a:pt x="83" y="12"/>
                    <a:pt x="74" y="9"/>
                  </a:cubicBezTo>
                  <a:cubicBezTo>
                    <a:pt x="71" y="13"/>
                    <a:pt x="66" y="14"/>
                    <a:pt x="62" y="18"/>
                  </a:cubicBezTo>
                  <a:cubicBezTo>
                    <a:pt x="53" y="29"/>
                    <a:pt x="60" y="42"/>
                    <a:pt x="67" y="55"/>
                  </a:cubicBezTo>
                  <a:cubicBezTo>
                    <a:pt x="56" y="48"/>
                    <a:pt x="31" y="25"/>
                    <a:pt x="28" y="53"/>
                  </a:cubicBezTo>
                  <a:cubicBezTo>
                    <a:pt x="28" y="50"/>
                    <a:pt x="26" y="49"/>
                    <a:pt x="23" y="48"/>
                  </a:cubicBezTo>
                  <a:cubicBezTo>
                    <a:pt x="18" y="50"/>
                    <a:pt x="11" y="52"/>
                    <a:pt x="3" y="55"/>
                  </a:cubicBezTo>
                  <a:cubicBezTo>
                    <a:pt x="4" y="58"/>
                    <a:pt x="2" y="60"/>
                    <a:pt x="0" y="61"/>
                  </a:cubicBezTo>
                  <a:cubicBezTo>
                    <a:pt x="3" y="66"/>
                    <a:pt x="1" y="75"/>
                    <a:pt x="4" y="79"/>
                  </a:cubicBezTo>
                  <a:cubicBezTo>
                    <a:pt x="7" y="78"/>
                    <a:pt x="8" y="80"/>
                    <a:pt x="11" y="79"/>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2" name="Freeform 108"/>
            <p:cNvSpPr>
              <a:spLocks/>
            </p:cNvSpPr>
            <p:nvPr/>
          </p:nvSpPr>
          <p:spPr bwMode="auto">
            <a:xfrm>
              <a:off x="2691800" y="1583621"/>
              <a:ext cx="229596" cy="391346"/>
            </a:xfrm>
            <a:custGeom>
              <a:avLst/>
              <a:gdLst>
                <a:gd name="T0" fmla="*/ 0 w 67"/>
                <a:gd name="T1" fmla="*/ 49 h 110"/>
                <a:gd name="T2" fmla="*/ 9 w 67"/>
                <a:gd name="T3" fmla="*/ 73 h 110"/>
                <a:gd name="T4" fmla="*/ 31 w 67"/>
                <a:gd name="T5" fmla="*/ 79 h 110"/>
                <a:gd name="T6" fmla="*/ 14 w 67"/>
                <a:gd name="T7" fmla="*/ 80 h 110"/>
                <a:gd name="T8" fmla="*/ 22 w 67"/>
                <a:gd name="T9" fmla="*/ 103 h 110"/>
                <a:gd name="T10" fmla="*/ 38 w 67"/>
                <a:gd name="T11" fmla="*/ 107 h 110"/>
                <a:gd name="T12" fmla="*/ 40 w 67"/>
                <a:gd name="T13" fmla="*/ 100 h 110"/>
                <a:gd name="T14" fmla="*/ 45 w 67"/>
                <a:gd name="T15" fmla="*/ 105 h 110"/>
                <a:gd name="T16" fmla="*/ 47 w 67"/>
                <a:gd name="T17" fmla="*/ 91 h 110"/>
                <a:gd name="T18" fmla="*/ 51 w 67"/>
                <a:gd name="T19" fmla="*/ 95 h 110"/>
                <a:gd name="T20" fmla="*/ 63 w 67"/>
                <a:gd name="T21" fmla="*/ 76 h 110"/>
                <a:gd name="T22" fmla="*/ 67 w 67"/>
                <a:gd name="T23" fmla="*/ 77 h 110"/>
                <a:gd name="T24" fmla="*/ 63 w 67"/>
                <a:gd name="T25" fmla="*/ 69 h 110"/>
                <a:gd name="T26" fmla="*/ 56 w 67"/>
                <a:gd name="T27" fmla="*/ 70 h 110"/>
                <a:gd name="T28" fmla="*/ 49 w 67"/>
                <a:gd name="T29" fmla="*/ 36 h 110"/>
                <a:gd name="T30" fmla="*/ 46 w 67"/>
                <a:gd name="T31" fmla="*/ 48 h 110"/>
                <a:gd name="T32" fmla="*/ 39 w 67"/>
                <a:gd name="T33" fmla="*/ 27 h 110"/>
                <a:gd name="T34" fmla="*/ 35 w 67"/>
                <a:gd name="T35" fmla="*/ 30 h 110"/>
                <a:gd name="T36" fmla="*/ 18 w 67"/>
                <a:gd name="T37" fmla="*/ 0 h 110"/>
                <a:gd name="T38" fmla="*/ 18 w 67"/>
                <a:gd name="T39" fmla="*/ 12 h 110"/>
                <a:gd name="T40" fmla="*/ 9 w 67"/>
                <a:gd name="T41" fmla="*/ 17 h 110"/>
                <a:gd name="T42" fmla="*/ 13 w 67"/>
                <a:gd name="T43" fmla="*/ 32 h 110"/>
                <a:gd name="T44" fmla="*/ 8 w 67"/>
                <a:gd name="T45" fmla="*/ 32 h 110"/>
                <a:gd name="T46" fmla="*/ 9 w 67"/>
                <a:gd name="T47" fmla="*/ 49 h 110"/>
                <a:gd name="T48" fmla="*/ 0 w 67"/>
                <a:gd name="T49" fmla="*/ 4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7" h="110">
                  <a:moveTo>
                    <a:pt x="0" y="49"/>
                  </a:moveTo>
                  <a:cubicBezTo>
                    <a:pt x="0" y="59"/>
                    <a:pt x="6" y="65"/>
                    <a:pt x="9" y="73"/>
                  </a:cubicBezTo>
                  <a:cubicBezTo>
                    <a:pt x="17" y="69"/>
                    <a:pt x="30" y="69"/>
                    <a:pt x="31" y="79"/>
                  </a:cubicBezTo>
                  <a:cubicBezTo>
                    <a:pt x="26" y="76"/>
                    <a:pt x="17" y="75"/>
                    <a:pt x="14" y="80"/>
                  </a:cubicBezTo>
                  <a:cubicBezTo>
                    <a:pt x="14" y="90"/>
                    <a:pt x="20" y="94"/>
                    <a:pt x="22" y="103"/>
                  </a:cubicBezTo>
                  <a:cubicBezTo>
                    <a:pt x="28" y="104"/>
                    <a:pt x="31" y="110"/>
                    <a:pt x="38" y="107"/>
                  </a:cubicBezTo>
                  <a:cubicBezTo>
                    <a:pt x="40" y="105"/>
                    <a:pt x="38" y="101"/>
                    <a:pt x="40" y="100"/>
                  </a:cubicBezTo>
                  <a:cubicBezTo>
                    <a:pt x="41" y="102"/>
                    <a:pt x="42" y="105"/>
                    <a:pt x="45" y="105"/>
                  </a:cubicBezTo>
                  <a:cubicBezTo>
                    <a:pt x="49" y="102"/>
                    <a:pt x="44" y="94"/>
                    <a:pt x="47" y="91"/>
                  </a:cubicBezTo>
                  <a:cubicBezTo>
                    <a:pt x="48" y="93"/>
                    <a:pt x="48" y="95"/>
                    <a:pt x="51" y="95"/>
                  </a:cubicBezTo>
                  <a:cubicBezTo>
                    <a:pt x="53" y="86"/>
                    <a:pt x="57" y="80"/>
                    <a:pt x="63" y="76"/>
                  </a:cubicBezTo>
                  <a:cubicBezTo>
                    <a:pt x="65" y="76"/>
                    <a:pt x="65" y="79"/>
                    <a:pt x="67" y="77"/>
                  </a:cubicBezTo>
                  <a:cubicBezTo>
                    <a:pt x="67" y="74"/>
                    <a:pt x="63" y="73"/>
                    <a:pt x="63" y="69"/>
                  </a:cubicBezTo>
                  <a:cubicBezTo>
                    <a:pt x="60" y="69"/>
                    <a:pt x="59" y="71"/>
                    <a:pt x="56" y="70"/>
                  </a:cubicBezTo>
                  <a:cubicBezTo>
                    <a:pt x="53" y="60"/>
                    <a:pt x="57" y="42"/>
                    <a:pt x="49" y="36"/>
                  </a:cubicBezTo>
                  <a:cubicBezTo>
                    <a:pt x="46" y="38"/>
                    <a:pt x="49" y="47"/>
                    <a:pt x="46" y="48"/>
                  </a:cubicBezTo>
                  <a:cubicBezTo>
                    <a:pt x="42" y="42"/>
                    <a:pt x="45" y="30"/>
                    <a:pt x="39" y="27"/>
                  </a:cubicBezTo>
                  <a:cubicBezTo>
                    <a:pt x="39" y="29"/>
                    <a:pt x="37" y="29"/>
                    <a:pt x="35" y="30"/>
                  </a:cubicBezTo>
                  <a:cubicBezTo>
                    <a:pt x="29" y="20"/>
                    <a:pt x="31" y="2"/>
                    <a:pt x="18" y="0"/>
                  </a:cubicBezTo>
                  <a:cubicBezTo>
                    <a:pt x="17" y="4"/>
                    <a:pt x="19" y="7"/>
                    <a:pt x="18" y="12"/>
                  </a:cubicBezTo>
                  <a:cubicBezTo>
                    <a:pt x="13" y="10"/>
                    <a:pt x="11" y="14"/>
                    <a:pt x="9" y="17"/>
                  </a:cubicBezTo>
                  <a:cubicBezTo>
                    <a:pt x="9" y="23"/>
                    <a:pt x="13" y="26"/>
                    <a:pt x="13" y="32"/>
                  </a:cubicBezTo>
                  <a:cubicBezTo>
                    <a:pt x="11" y="30"/>
                    <a:pt x="10" y="32"/>
                    <a:pt x="8" y="32"/>
                  </a:cubicBezTo>
                  <a:cubicBezTo>
                    <a:pt x="3" y="37"/>
                    <a:pt x="6" y="45"/>
                    <a:pt x="9" y="49"/>
                  </a:cubicBezTo>
                  <a:cubicBezTo>
                    <a:pt x="6" y="51"/>
                    <a:pt x="3" y="51"/>
                    <a:pt x="0" y="49"/>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3" name="Freeform 109"/>
            <p:cNvSpPr>
              <a:spLocks/>
            </p:cNvSpPr>
            <p:nvPr/>
          </p:nvSpPr>
          <p:spPr bwMode="auto">
            <a:xfrm>
              <a:off x="4977597" y="1682962"/>
              <a:ext cx="186003" cy="192663"/>
            </a:xfrm>
            <a:custGeom>
              <a:avLst/>
              <a:gdLst>
                <a:gd name="T0" fmla="*/ 21 w 54"/>
                <a:gd name="T1" fmla="*/ 35 h 54"/>
                <a:gd name="T2" fmla="*/ 15 w 54"/>
                <a:gd name="T3" fmla="*/ 52 h 54"/>
                <a:gd name="T4" fmla="*/ 34 w 54"/>
                <a:gd name="T5" fmla="*/ 54 h 54"/>
                <a:gd name="T6" fmla="*/ 54 w 54"/>
                <a:gd name="T7" fmla="*/ 28 h 54"/>
                <a:gd name="T8" fmla="*/ 41 w 54"/>
                <a:gd name="T9" fmla="*/ 19 h 54"/>
                <a:gd name="T10" fmla="*/ 37 w 54"/>
                <a:gd name="T11" fmla="*/ 9 h 54"/>
                <a:gd name="T12" fmla="*/ 30 w 54"/>
                <a:gd name="T13" fmla="*/ 21 h 54"/>
                <a:gd name="T14" fmla="*/ 29 w 54"/>
                <a:gd name="T15" fmla="*/ 3 h 54"/>
                <a:gd name="T16" fmla="*/ 23 w 54"/>
                <a:gd name="T17" fmla="*/ 18 h 54"/>
                <a:gd name="T18" fmla="*/ 15 w 54"/>
                <a:gd name="T19" fmla="*/ 14 h 54"/>
                <a:gd name="T20" fmla="*/ 9 w 54"/>
                <a:gd name="T21" fmla="*/ 0 h 54"/>
                <a:gd name="T22" fmla="*/ 0 w 54"/>
                <a:gd name="T23" fmla="*/ 30 h 54"/>
                <a:gd name="T24" fmla="*/ 21 w 54"/>
                <a:gd name="T25"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4">
                  <a:moveTo>
                    <a:pt x="21" y="35"/>
                  </a:moveTo>
                  <a:cubicBezTo>
                    <a:pt x="21" y="42"/>
                    <a:pt x="14" y="43"/>
                    <a:pt x="15" y="52"/>
                  </a:cubicBezTo>
                  <a:cubicBezTo>
                    <a:pt x="21" y="53"/>
                    <a:pt x="27" y="53"/>
                    <a:pt x="34" y="54"/>
                  </a:cubicBezTo>
                  <a:cubicBezTo>
                    <a:pt x="41" y="45"/>
                    <a:pt x="50" y="39"/>
                    <a:pt x="54" y="28"/>
                  </a:cubicBezTo>
                  <a:cubicBezTo>
                    <a:pt x="53" y="20"/>
                    <a:pt x="49" y="16"/>
                    <a:pt x="41" y="19"/>
                  </a:cubicBezTo>
                  <a:cubicBezTo>
                    <a:pt x="41" y="14"/>
                    <a:pt x="40" y="11"/>
                    <a:pt x="37" y="9"/>
                  </a:cubicBezTo>
                  <a:cubicBezTo>
                    <a:pt x="32" y="10"/>
                    <a:pt x="33" y="17"/>
                    <a:pt x="30" y="21"/>
                  </a:cubicBezTo>
                  <a:cubicBezTo>
                    <a:pt x="29" y="15"/>
                    <a:pt x="33" y="6"/>
                    <a:pt x="29" y="3"/>
                  </a:cubicBezTo>
                  <a:cubicBezTo>
                    <a:pt x="25" y="6"/>
                    <a:pt x="26" y="14"/>
                    <a:pt x="23" y="18"/>
                  </a:cubicBezTo>
                  <a:cubicBezTo>
                    <a:pt x="23" y="13"/>
                    <a:pt x="18" y="15"/>
                    <a:pt x="15" y="14"/>
                  </a:cubicBezTo>
                  <a:cubicBezTo>
                    <a:pt x="13" y="10"/>
                    <a:pt x="13" y="3"/>
                    <a:pt x="9" y="0"/>
                  </a:cubicBezTo>
                  <a:cubicBezTo>
                    <a:pt x="8" y="12"/>
                    <a:pt x="3" y="20"/>
                    <a:pt x="0" y="30"/>
                  </a:cubicBezTo>
                  <a:cubicBezTo>
                    <a:pt x="4" y="38"/>
                    <a:pt x="13" y="31"/>
                    <a:pt x="21" y="35"/>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4" name="Freeform 110"/>
            <p:cNvSpPr>
              <a:spLocks/>
            </p:cNvSpPr>
            <p:nvPr/>
          </p:nvSpPr>
          <p:spPr bwMode="auto">
            <a:xfrm>
              <a:off x="4820658" y="1765746"/>
              <a:ext cx="219426" cy="347696"/>
            </a:xfrm>
            <a:custGeom>
              <a:avLst/>
              <a:gdLst>
                <a:gd name="T0" fmla="*/ 12 w 64"/>
                <a:gd name="T1" fmla="*/ 30 h 98"/>
                <a:gd name="T2" fmla="*/ 20 w 64"/>
                <a:gd name="T3" fmla="*/ 57 h 98"/>
                <a:gd name="T4" fmla="*/ 29 w 64"/>
                <a:gd name="T5" fmla="*/ 43 h 98"/>
                <a:gd name="T6" fmla="*/ 36 w 64"/>
                <a:gd name="T7" fmla="*/ 50 h 98"/>
                <a:gd name="T8" fmla="*/ 21 w 64"/>
                <a:gd name="T9" fmla="*/ 62 h 98"/>
                <a:gd name="T10" fmla="*/ 22 w 64"/>
                <a:gd name="T11" fmla="*/ 71 h 98"/>
                <a:gd name="T12" fmla="*/ 36 w 64"/>
                <a:gd name="T13" fmla="*/ 68 h 98"/>
                <a:gd name="T14" fmla="*/ 26 w 64"/>
                <a:gd name="T15" fmla="*/ 75 h 98"/>
                <a:gd name="T16" fmla="*/ 41 w 64"/>
                <a:gd name="T17" fmla="*/ 98 h 98"/>
                <a:gd name="T18" fmla="*/ 49 w 64"/>
                <a:gd name="T19" fmla="*/ 77 h 98"/>
                <a:gd name="T20" fmla="*/ 54 w 64"/>
                <a:gd name="T21" fmla="*/ 48 h 98"/>
                <a:gd name="T22" fmla="*/ 64 w 64"/>
                <a:gd name="T23" fmla="*/ 40 h 98"/>
                <a:gd name="T24" fmla="*/ 50 w 64"/>
                <a:gd name="T25" fmla="*/ 15 h 98"/>
                <a:gd name="T26" fmla="*/ 45 w 64"/>
                <a:gd name="T27" fmla="*/ 21 h 98"/>
                <a:gd name="T28" fmla="*/ 45 w 64"/>
                <a:gd name="T29" fmla="*/ 6 h 98"/>
                <a:gd name="T30" fmla="*/ 35 w 64"/>
                <a:gd name="T31" fmla="*/ 0 h 98"/>
                <a:gd name="T32" fmla="*/ 34 w 64"/>
                <a:gd name="T33" fmla="*/ 27 h 98"/>
                <a:gd name="T34" fmla="*/ 26 w 64"/>
                <a:gd name="T35" fmla="*/ 7 h 98"/>
                <a:gd name="T36" fmla="*/ 22 w 64"/>
                <a:gd name="T37" fmla="*/ 21 h 98"/>
                <a:gd name="T38" fmla="*/ 18 w 64"/>
                <a:gd name="T39" fmla="*/ 7 h 98"/>
                <a:gd name="T40" fmla="*/ 6 w 64"/>
                <a:gd name="T41" fmla="*/ 30 h 98"/>
                <a:gd name="T42" fmla="*/ 12 w 64"/>
                <a:gd name="T43" fmla="*/ 3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4" h="98">
                  <a:moveTo>
                    <a:pt x="12" y="30"/>
                  </a:moveTo>
                  <a:cubicBezTo>
                    <a:pt x="5" y="40"/>
                    <a:pt x="12" y="52"/>
                    <a:pt x="20" y="57"/>
                  </a:cubicBezTo>
                  <a:cubicBezTo>
                    <a:pt x="26" y="55"/>
                    <a:pt x="25" y="47"/>
                    <a:pt x="29" y="43"/>
                  </a:cubicBezTo>
                  <a:cubicBezTo>
                    <a:pt x="30" y="47"/>
                    <a:pt x="34" y="48"/>
                    <a:pt x="36" y="50"/>
                  </a:cubicBezTo>
                  <a:cubicBezTo>
                    <a:pt x="32" y="55"/>
                    <a:pt x="28" y="60"/>
                    <a:pt x="21" y="62"/>
                  </a:cubicBezTo>
                  <a:cubicBezTo>
                    <a:pt x="21" y="66"/>
                    <a:pt x="21" y="68"/>
                    <a:pt x="22" y="71"/>
                  </a:cubicBezTo>
                  <a:cubicBezTo>
                    <a:pt x="28" y="72"/>
                    <a:pt x="33" y="67"/>
                    <a:pt x="36" y="68"/>
                  </a:cubicBezTo>
                  <a:cubicBezTo>
                    <a:pt x="36" y="74"/>
                    <a:pt x="31" y="75"/>
                    <a:pt x="26" y="75"/>
                  </a:cubicBezTo>
                  <a:cubicBezTo>
                    <a:pt x="22" y="85"/>
                    <a:pt x="30" y="96"/>
                    <a:pt x="41" y="98"/>
                  </a:cubicBezTo>
                  <a:cubicBezTo>
                    <a:pt x="44" y="92"/>
                    <a:pt x="41" y="79"/>
                    <a:pt x="49" y="77"/>
                  </a:cubicBezTo>
                  <a:cubicBezTo>
                    <a:pt x="51" y="68"/>
                    <a:pt x="51" y="57"/>
                    <a:pt x="54" y="48"/>
                  </a:cubicBezTo>
                  <a:cubicBezTo>
                    <a:pt x="58" y="46"/>
                    <a:pt x="62" y="44"/>
                    <a:pt x="64" y="40"/>
                  </a:cubicBezTo>
                  <a:cubicBezTo>
                    <a:pt x="60" y="30"/>
                    <a:pt x="50" y="27"/>
                    <a:pt x="50" y="15"/>
                  </a:cubicBezTo>
                  <a:cubicBezTo>
                    <a:pt x="46" y="15"/>
                    <a:pt x="47" y="19"/>
                    <a:pt x="45" y="21"/>
                  </a:cubicBezTo>
                  <a:cubicBezTo>
                    <a:pt x="46" y="17"/>
                    <a:pt x="46" y="10"/>
                    <a:pt x="45" y="6"/>
                  </a:cubicBezTo>
                  <a:cubicBezTo>
                    <a:pt x="40" y="6"/>
                    <a:pt x="40" y="0"/>
                    <a:pt x="35" y="0"/>
                  </a:cubicBezTo>
                  <a:cubicBezTo>
                    <a:pt x="29" y="7"/>
                    <a:pt x="35" y="20"/>
                    <a:pt x="34" y="27"/>
                  </a:cubicBezTo>
                  <a:cubicBezTo>
                    <a:pt x="31" y="21"/>
                    <a:pt x="32" y="11"/>
                    <a:pt x="26" y="7"/>
                  </a:cubicBezTo>
                  <a:cubicBezTo>
                    <a:pt x="21" y="9"/>
                    <a:pt x="23" y="17"/>
                    <a:pt x="22" y="21"/>
                  </a:cubicBezTo>
                  <a:cubicBezTo>
                    <a:pt x="17" y="20"/>
                    <a:pt x="21" y="11"/>
                    <a:pt x="18" y="7"/>
                  </a:cubicBezTo>
                  <a:cubicBezTo>
                    <a:pt x="6" y="6"/>
                    <a:pt x="0" y="18"/>
                    <a:pt x="6" y="30"/>
                  </a:cubicBezTo>
                  <a:cubicBezTo>
                    <a:pt x="8" y="33"/>
                    <a:pt x="10" y="25"/>
                    <a:pt x="12" y="3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5" name="Freeform 111"/>
            <p:cNvSpPr>
              <a:spLocks/>
            </p:cNvSpPr>
            <p:nvPr/>
          </p:nvSpPr>
          <p:spPr bwMode="auto">
            <a:xfrm>
              <a:off x="2507251" y="1833481"/>
              <a:ext cx="161300" cy="183631"/>
            </a:xfrm>
            <a:custGeom>
              <a:avLst/>
              <a:gdLst>
                <a:gd name="T0" fmla="*/ 14 w 47"/>
                <a:gd name="T1" fmla="*/ 26 h 52"/>
                <a:gd name="T2" fmla="*/ 6 w 47"/>
                <a:gd name="T3" fmla="*/ 23 h 52"/>
                <a:gd name="T4" fmla="*/ 29 w 47"/>
                <a:gd name="T5" fmla="*/ 39 h 52"/>
                <a:gd name="T6" fmla="*/ 36 w 47"/>
                <a:gd name="T7" fmla="*/ 51 h 52"/>
                <a:gd name="T8" fmla="*/ 32 w 47"/>
                <a:gd name="T9" fmla="*/ 18 h 52"/>
                <a:gd name="T10" fmla="*/ 16 w 47"/>
                <a:gd name="T11" fmla="*/ 2 h 52"/>
                <a:gd name="T12" fmla="*/ 2 w 47"/>
                <a:gd name="T13" fmla="*/ 2 h 52"/>
                <a:gd name="T14" fmla="*/ 14 w 47"/>
                <a:gd name="T15" fmla="*/ 26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52">
                  <a:moveTo>
                    <a:pt x="14" y="26"/>
                  </a:moveTo>
                  <a:cubicBezTo>
                    <a:pt x="11" y="26"/>
                    <a:pt x="11" y="22"/>
                    <a:pt x="6" y="23"/>
                  </a:cubicBezTo>
                  <a:cubicBezTo>
                    <a:pt x="0" y="38"/>
                    <a:pt x="19" y="37"/>
                    <a:pt x="29" y="39"/>
                  </a:cubicBezTo>
                  <a:cubicBezTo>
                    <a:pt x="30" y="44"/>
                    <a:pt x="30" y="52"/>
                    <a:pt x="36" y="51"/>
                  </a:cubicBezTo>
                  <a:cubicBezTo>
                    <a:pt x="47" y="50"/>
                    <a:pt x="36" y="23"/>
                    <a:pt x="32" y="18"/>
                  </a:cubicBezTo>
                  <a:cubicBezTo>
                    <a:pt x="22" y="18"/>
                    <a:pt x="18" y="11"/>
                    <a:pt x="16" y="2"/>
                  </a:cubicBezTo>
                  <a:cubicBezTo>
                    <a:pt x="11" y="0"/>
                    <a:pt x="7" y="0"/>
                    <a:pt x="2" y="2"/>
                  </a:cubicBezTo>
                  <a:cubicBezTo>
                    <a:pt x="1" y="16"/>
                    <a:pt x="16" y="12"/>
                    <a:pt x="14" y="26"/>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6" name="Freeform 112"/>
            <p:cNvSpPr>
              <a:spLocks/>
            </p:cNvSpPr>
            <p:nvPr/>
          </p:nvSpPr>
          <p:spPr bwMode="auto">
            <a:xfrm>
              <a:off x="2630768" y="1899708"/>
              <a:ext cx="95907" cy="96331"/>
            </a:xfrm>
            <a:custGeom>
              <a:avLst/>
              <a:gdLst>
                <a:gd name="T0" fmla="*/ 16 w 28"/>
                <a:gd name="T1" fmla="*/ 26 h 27"/>
                <a:gd name="T2" fmla="*/ 27 w 28"/>
                <a:gd name="T3" fmla="*/ 22 h 27"/>
                <a:gd name="T4" fmla="*/ 28 w 28"/>
                <a:gd name="T5" fmla="*/ 13 h 27"/>
                <a:gd name="T6" fmla="*/ 13 w 28"/>
                <a:gd name="T7" fmla="*/ 1 h 27"/>
                <a:gd name="T8" fmla="*/ 16 w 28"/>
                <a:gd name="T9" fmla="*/ 26 h 27"/>
              </a:gdLst>
              <a:ahLst/>
              <a:cxnLst>
                <a:cxn ang="0">
                  <a:pos x="T0" y="T1"/>
                </a:cxn>
                <a:cxn ang="0">
                  <a:pos x="T2" y="T3"/>
                </a:cxn>
                <a:cxn ang="0">
                  <a:pos x="T4" y="T5"/>
                </a:cxn>
                <a:cxn ang="0">
                  <a:pos x="T6" y="T7"/>
                </a:cxn>
                <a:cxn ang="0">
                  <a:pos x="T8" y="T9"/>
                </a:cxn>
              </a:cxnLst>
              <a:rect l="0" t="0" r="r" b="b"/>
              <a:pathLst>
                <a:path w="28" h="27">
                  <a:moveTo>
                    <a:pt x="16" y="26"/>
                  </a:moveTo>
                  <a:cubicBezTo>
                    <a:pt x="20" y="27"/>
                    <a:pt x="22" y="24"/>
                    <a:pt x="27" y="22"/>
                  </a:cubicBezTo>
                  <a:cubicBezTo>
                    <a:pt x="27" y="18"/>
                    <a:pt x="28" y="17"/>
                    <a:pt x="28" y="13"/>
                  </a:cubicBezTo>
                  <a:cubicBezTo>
                    <a:pt x="22" y="9"/>
                    <a:pt x="20" y="1"/>
                    <a:pt x="13" y="1"/>
                  </a:cubicBezTo>
                  <a:cubicBezTo>
                    <a:pt x="0" y="0"/>
                    <a:pt x="10" y="24"/>
                    <a:pt x="16" y="26"/>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7" name="Freeform 113"/>
            <p:cNvSpPr>
              <a:spLocks/>
            </p:cNvSpPr>
            <p:nvPr/>
          </p:nvSpPr>
          <p:spPr bwMode="auto">
            <a:xfrm>
              <a:off x="2341593" y="1977977"/>
              <a:ext cx="93001" cy="67733"/>
            </a:xfrm>
            <a:custGeom>
              <a:avLst/>
              <a:gdLst>
                <a:gd name="T0" fmla="*/ 22 w 27"/>
                <a:gd name="T1" fmla="*/ 17 h 19"/>
                <a:gd name="T2" fmla="*/ 27 w 27"/>
                <a:gd name="T3" fmla="*/ 4 h 19"/>
                <a:gd name="T4" fmla="*/ 6 w 27"/>
                <a:gd name="T5" fmla="*/ 15 h 19"/>
                <a:gd name="T6" fmla="*/ 22 w 27"/>
                <a:gd name="T7" fmla="*/ 17 h 19"/>
              </a:gdLst>
              <a:ahLst/>
              <a:cxnLst>
                <a:cxn ang="0">
                  <a:pos x="T0" y="T1"/>
                </a:cxn>
                <a:cxn ang="0">
                  <a:pos x="T2" y="T3"/>
                </a:cxn>
                <a:cxn ang="0">
                  <a:pos x="T4" y="T5"/>
                </a:cxn>
                <a:cxn ang="0">
                  <a:pos x="T6" y="T7"/>
                </a:cxn>
              </a:cxnLst>
              <a:rect l="0" t="0" r="r" b="b"/>
              <a:pathLst>
                <a:path w="27" h="19">
                  <a:moveTo>
                    <a:pt x="22" y="17"/>
                  </a:moveTo>
                  <a:cubicBezTo>
                    <a:pt x="23" y="11"/>
                    <a:pt x="27" y="9"/>
                    <a:pt x="27" y="4"/>
                  </a:cubicBezTo>
                  <a:cubicBezTo>
                    <a:pt x="17" y="1"/>
                    <a:pt x="0" y="0"/>
                    <a:pt x="6" y="15"/>
                  </a:cubicBezTo>
                  <a:cubicBezTo>
                    <a:pt x="10" y="19"/>
                    <a:pt x="16" y="18"/>
                    <a:pt x="22" y="1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8" name="Freeform 114"/>
            <p:cNvSpPr>
              <a:spLocks/>
            </p:cNvSpPr>
            <p:nvPr/>
          </p:nvSpPr>
          <p:spPr bwMode="auto">
            <a:xfrm>
              <a:off x="2167214" y="2021625"/>
              <a:ext cx="151128" cy="159549"/>
            </a:xfrm>
            <a:custGeom>
              <a:avLst/>
              <a:gdLst>
                <a:gd name="T0" fmla="*/ 10 w 44"/>
                <a:gd name="T1" fmla="*/ 38 h 45"/>
                <a:gd name="T2" fmla="*/ 15 w 44"/>
                <a:gd name="T3" fmla="*/ 45 h 45"/>
                <a:gd name="T4" fmla="*/ 26 w 44"/>
                <a:gd name="T5" fmla="*/ 22 h 45"/>
                <a:gd name="T6" fmla="*/ 29 w 44"/>
                <a:gd name="T7" fmla="*/ 34 h 45"/>
                <a:gd name="T8" fmla="*/ 40 w 44"/>
                <a:gd name="T9" fmla="*/ 25 h 45"/>
                <a:gd name="T10" fmla="*/ 39 w 44"/>
                <a:gd name="T11" fmla="*/ 13 h 45"/>
                <a:gd name="T12" fmla="*/ 44 w 44"/>
                <a:gd name="T13" fmla="*/ 9 h 45"/>
                <a:gd name="T14" fmla="*/ 32 w 44"/>
                <a:gd name="T15" fmla="*/ 6 h 45"/>
                <a:gd name="T16" fmla="*/ 0 w 44"/>
                <a:gd name="T17" fmla="*/ 30 h 45"/>
                <a:gd name="T18" fmla="*/ 3 w 44"/>
                <a:gd name="T19" fmla="*/ 41 h 45"/>
                <a:gd name="T20" fmla="*/ 10 w 44"/>
                <a:gd name="T21" fmla="*/ 3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45">
                  <a:moveTo>
                    <a:pt x="10" y="38"/>
                  </a:moveTo>
                  <a:cubicBezTo>
                    <a:pt x="11" y="41"/>
                    <a:pt x="11" y="44"/>
                    <a:pt x="15" y="45"/>
                  </a:cubicBezTo>
                  <a:cubicBezTo>
                    <a:pt x="23" y="42"/>
                    <a:pt x="21" y="28"/>
                    <a:pt x="26" y="22"/>
                  </a:cubicBezTo>
                  <a:cubicBezTo>
                    <a:pt x="27" y="26"/>
                    <a:pt x="28" y="30"/>
                    <a:pt x="29" y="34"/>
                  </a:cubicBezTo>
                  <a:cubicBezTo>
                    <a:pt x="38" y="36"/>
                    <a:pt x="32" y="23"/>
                    <a:pt x="40" y="25"/>
                  </a:cubicBezTo>
                  <a:cubicBezTo>
                    <a:pt x="40" y="21"/>
                    <a:pt x="39" y="18"/>
                    <a:pt x="39" y="13"/>
                  </a:cubicBezTo>
                  <a:cubicBezTo>
                    <a:pt x="41" y="12"/>
                    <a:pt x="42" y="10"/>
                    <a:pt x="44" y="9"/>
                  </a:cubicBezTo>
                  <a:cubicBezTo>
                    <a:pt x="43" y="3"/>
                    <a:pt x="35" y="0"/>
                    <a:pt x="32" y="6"/>
                  </a:cubicBezTo>
                  <a:cubicBezTo>
                    <a:pt x="12" y="5"/>
                    <a:pt x="13" y="24"/>
                    <a:pt x="0" y="30"/>
                  </a:cubicBezTo>
                  <a:cubicBezTo>
                    <a:pt x="0" y="35"/>
                    <a:pt x="2" y="38"/>
                    <a:pt x="3" y="41"/>
                  </a:cubicBezTo>
                  <a:cubicBezTo>
                    <a:pt x="6" y="41"/>
                    <a:pt x="8" y="39"/>
                    <a:pt x="10" y="38"/>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9" name="Freeform 115"/>
            <p:cNvSpPr>
              <a:spLocks/>
            </p:cNvSpPr>
            <p:nvPr/>
          </p:nvSpPr>
          <p:spPr bwMode="auto">
            <a:xfrm>
              <a:off x="2681628" y="2071296"/>
              <a:ext cx="75564" cy="70743"/>
            </a:xfrm>
            <a:custGeom>
              <a:avLst/>
              <a:gdLst>
                <a:gd name="T0" fmla="*/ 19 w 22"/>
                <a:gd name="T1" fmla="*/ 20 h 20"/>
                <a:gd name="T2" fmla="*/ 18 w 22"/>
                <a:gd name="T3" fmla="*/ 6 h 20"/>
                <a:gd name="T4" fmla="*/ 2 w 22"/>
                <a:gd name="T5" fmla="*/ 2 h 20"/>
                <a:gd name="T6" fmla="*/ 7 w 22"/>
                <a:gd name="T7" fmla="*/ 19 h 20"/>
                <a:gd name="T8" fmla="*/ 19 w 22"/>
                <a:gd name="T9" fmla="*/ 20 h 20"/>
              </a:gdLst>
              <a:ahLst/>
              <a:cxnLst>
                <a:cxn ang="0">
                  <a:pos x="T0" y="T1"/>
                </a:cxn>
                <a:cxn ang="0">
                  <a:pos x="T2" y="T3"/>
                </a:cxn>
                <a:cxn ang="0">
                  <a:pos x="T4" y="T5"/>
                </a:cxn>
                <a:cxn ang="0">
                  <a:pos x="T6" y="T7"/>
                </a:cxn>
                <a:cxn ang="0">
                  <a:pos x="T8" y="T9"/>
                </a:cxn>
              </a:cxnLst>
              <a:rect l="0" t="0" r="r" b="b"/>
              <a:pathLst>
                <a:path w="22" h="20">
                  <a:moveTo>
                    <a:pt x="19" y="20"/>
                  </a:moveTo>
                  <a:cubicBezTo>
                    <a:pt x="22" y="16"/>
                    <a:pt x="21" y="10"/>
                    <a:pt x="18" y="6"/>
                  </a:cubicBezTo>
                  <a:cubicBezTo>
                    <a:pt x="11" y="6"/>
                    <a:pt x="10" y="0"/>
                    <a:pt x="2" y="2"/>
                  </a:cubicBezTo>
                  <a:cubicBezTo>
                    <a:pt x="0" y="9"/>
                    <a:pt x="7" y="12"/>
                    <a:pt x="7" y="19"/>
                  </a:cubicBezTo>
                  <a:cubicBezTo>
                    <a:pt x="12" y="17"/>
                    <a:pt x="14" y="20"/>
                    <a:pt x="19" y="2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0" name="Freeform 116"/>
            <p:cNvSpPr>
              <a:spLocks/>
            </p:cNvSpPr>
            <p:nvPr/>
          </p:nvSpPr>
          <p:spPr bwMode="auto">
            <a:xfrm>
              <a:off x="5688186" y="2071296"/>
              <a:ext cx="322599" cy="313076"/>
            </a:xfrm>
            <a:custGeom>
              <a:avLst/>
              <a:gdLst>
                <a:gd name="T0" fmla="*/ 12 w 94"/>
                <a:gd name="T1" fmla="*/ 84 h 88"/>
                <a:gd name="T2" fmla="*/ 19 w 94"/>
                <a:gd name="T3" fmla="*/ 88 h 88"/>
                <a:gd name="T4" fmla="*/ 23 w 94"/>
                <a:gd name="T5" fmla="*/ 71 h 88"/>
                <a:gd name="T6" fmla="*/ 27 w 94"/>
                <a:gd name="T7" fmla="*/ 73 h 88"/>
                <a:gd name="T8" fmla="*/ 30 w 94"/>
                <a:gd name="T9" fmla="*/ 61 h 88"/>
                <a:gd name="T10" fmla="*/ 37 w 94"/>
                <a:gd name="T11" fmla="*/ 61 h 88"/>
                <a:gd name="T12" fmla="*/ 40 w 94"/>
                <a:gd name="T13" fmla="*/ 49 h 88"/>
                <a:gd name="T14" fmla="*/ 60 w 94"/>
                <a:gd name="T15" fmla="*/ 38 h 88"/>
                <a:gd name="T16" fmla="*/ 86 w 94"/>
                <a:gd name="T17" fmla="*/ 22 h 88"/>
                <a:gd name="T18" fmla="*/ 72 w 94"/>
                <a:gd name="T19" fmla="*/ 8 h 88"/>
                <a:gd name="T20" fmla="*/ 69 w 94"/>
                <a:gd name="T21" fmla="*/ 16 h 88"/>
                <a:gd name="T22" fmla="*/ 51 w 94"/>
                <a:gd name="T23" fmla="*/ 24 h 88"/>
                <a:gd name="T24" fmla="*/ 43 w 94"/>
                <a:gd name="T25" fmla="*/ 21 h 88"/>
                <a:gd name="T26" fmla="*/ 39 w 94"/>
                <a:gd name="T27" fmla="*/ 30 h 88"/>
                <a:gd name="T28" fmla="*/ 22 w 94"/>
                <a:gd name="T29" fmla="*/ 44 h 88"/>
                <a:gd name="T30" fmla="*/ 18 w 94"/>
                <a:gd name="T31" fmla="*/ 44 h 88"/>
                <a:gd name="T32" fmla="*/ 15 w 94"/>
                <a:gd name="T33" fmla="*/ 59 h 88"/>
                <a:gd name="T34" fmla="*/ 12 w 94"/>
                <a:gd name="T35" fmla="*/ 71 h 88"/>
                <a:gd name="T36" fmla="*/ 0 w 94"/>
                <a:gd name="T37" fmla="*/ 80 h 88"/>
                <a:gd name="T38" fmla="*/ 4 w 94"/>
                <a:gd name="T39" fmla="*/ 86 h 88"/>
                <a:gd name="T40" fmla="*/ 12 w 94"/>
                <a:gd name="T41" fmla="*/ 84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88">
                  <a:moveTo>
                    <a:pt x="12" y="84"/>
                  </a:moveTo>
                  <a:cubicBezTo>
                    <a:pt x="15" y="85"/>
                    <a:pt x="15" y="88"/>
                    <a:pt x="19" y="88"/>
                  </a:cubicBezTo>
                  <a:cubicBezTo>
                    <a:pt x="24" y="85"/>
                    <a:pt x="26" y="75"/>
                    <a:pt x="23" y="71"/>
                  </a:cubicBezTo>
                  <a:cubicBezTo>
                    <a:pt x="25" y="72"/>
                    <a:pt x="24" y="74"/>
                    <a:pt x="27" y="73"/>
                  </a:cubicBezTo>
                  <a:cubicBezTo>
                    <a:pt x="30" y="70"/>
                    <a:pt x="30" y="65"/>
                    <a:pt x="30" y="61"/>
                  </a:cubicBezTo>
                  <a:cubicBezTo>
                    <a:pt x="32" y="61"/>
                    <a:pt x="35" y="61"/>
                    <a:pt x="37" y="61"/>
                  </a:cubicBezTo>
                  <a:cubicBezTo>
                    <a:pt x="39" y="58"/>
                    <a:pt x="42" y="54"/>
                    <a:pt x="40" y="49"/>
                  </a:cubicBezTo>
                  <a:cubicBezTo>
                    <a:pt x="48" y="45"/>
                    <a:pt x="52" y="42"/>
                    <a:pt x="60" y="38"/>
                  </a:cubicBezTo>
                  <a:cubicBezTo>
                    <a:pt x="69" y="33"/>
                    <a:pt x="82" y="28"/>
                    <a:pt x="86" y="22"/>
                  </a:cubicBezTo>
                  <a:cubicBezTo>
                    <a:pt x="94" y="10"/>
                    <a:pt x="85" y="0"/>
                    <a:pt x="72" y="8"/>
                  </a:cubicBezTo>
                  <a:cubicBezTo>
                    <a:pt x="71" y="10"/>
                    <a:pt x="70" y="13"/>
                    <a:pt x="69" y="16"/>
                  </a:cubicBezTo>
                  <a:cubicBezTo>
                    <a:pt x="62" y="18"/>
                    <a:pt x="57" y="21"/>
                    <a:pt x="51" y="24"/>
                  </a:cubicBezTo>
                  <a:cubicBezTo>
                    <a:pt x="49" y="21"/>
                    <a:pt x="45" y="22"/>
                    <a:pt x="43" y="21"/>
                  </a:cubicBezTo>
                  <a:cubicBezTo>
                    <a:pt x="42" y="24"/>
                    <a:pt x="42" y="29"/>
                    <a:pt x="39" y="30"/>
                  </a:cubicBezTo>
                  <a:cubicBezTo>
                    <a:pt x="30" y="29"/>
                    <a:pt x="25" y="38"/>
                    <a:pt x="22" y="44"/>
                  </a:cubicBezTo>
                  <a:cubicBezTo>
                    <a:pt x="20" y="43"/>
                    <a:pt x="20" y="43"/>
                    <a:pt x="18" y="44"/>
                  </a:cubicBezTo>
                  <a:cubicBezTo>
                    <a:pt x="17" y="49"/>
                    <a:pt x="12" y="54"/>
                    <a:pt x="15" y="59"/>
                  </a:cubicBezTo>
                  <a:cubicBezTo>
                    <a:pt x="9" y="60"/>
                    <a:pt x="9" y="66"/>
                    <a:pt x="12" y="71"/>
                  </a:cubicBezTo>
                  <a:cubicBezTo>
                    <a:pt x="4" y="70"/>
                    <a:pt x="3" y="75"/>
                    <a:pt x="0" y="80"/>
                  </a:cubicBezTo>
                  <a:cubicBezTo>
                    <a:pt x="1" y="82"/>
                    <a:pt x="3" y="84"/>
                    <a:pt x="4" y="86"/>
                  </a:cubicBezTo>
                  <a:cubicBezTo>
                    <a:pt x="6" y="85"/>
                    <a:pt x="9" y="85"/>
                    <a:pt x="12" y="84"/>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1" name="Freeform 117"/>
            <p:cNvSpPr>
              <a:spLocks/>
            </p:cNvSpPr>
            <p:nvPr/>
          </p:nvSpPr>
          <p:spPr bwMode="auto">
            <a:xfrm>
              <a:off x="2273295" y="2092369"/>
              <a:ext cx="257207" cy="248355"/>
            </a:xfrm>
            <a:custGeom>
              <a:avLst/>
              <a:gdLst>
                <a:gd name="T0" fmla="*/ 12 w 75"/>
                <a:gd name="T1" fmla="*/ 29 h 70"/>
                <a:gd name="T2" fmla="*/ 0 w 75"/>
                <a:gd name="T3" fmla="*/ 37 h 70"/>
                <a:gd name="T4" fmla="*/ 5 w 75"/>
                <a:gd name="T5" fmla="*/ 42 h 70"/>
                <a:gd name="T6" fmla="*/ 14 w 75"/>
                <a:gd name="T7" fmla="*/ 44 h 70"/>
                <a:gd name="T8" fmla="*/ 37 w 75"/>
                <a:gd name="T9" fmla="*/ 40 h 70"/>
                <a:gd name="T10" fmla="*/ 36 w 75"/>
                <a:gd name="T11" fmla="*/ 43 h 70"/>
                <a:gd name="T12" fmla="*/ 19 w 75"/>
                <a:gd name="T13" fmla="*/ 49 h 70"/>
                <a:gd name="T14" fmla="*/ 51 w 75"/>
                <a:gd name="T15" fmla="*/ 44 h 70"/>
                <a:gd name="T16" fmla="*/ 69 w 75"/>
                <a:gd name="T17" fmla="*/ 45 h 70"/>
                <a:gd name="T18" fmla="*/ 63 w 75"/>
                <a:gd name="T19" fmla="*/ 19 h 70"/>
                <a:gd name="T20" fmla="*/ 62 w 75"/>
                <a:gd name="T21" fmla="*/ 26 h 70"/>
                <a:gd name="T22" fmla="*/ 51 w 75"/>
                <a:gd name="T23" fmla="*/ 0 h 70"/>
                <a:gd name="T24" fmla="*/ 42 w 75"/>
                <a:gd name="T25" fmla="*/ 12 h 70"/>
                <a:gd name="T26" fmla="*/ 49 w 75"/>
                <a:gd name="T27" fmla="*/ 29 h 70"/>
                <a:gd name="T28" fmla="*/ 37 w 75"/>
                <a:gd name="T29" fmla="*/ 30 h 70"/>
                <a:gd name="T30" fmla="*/ 28 w 75"/>
                <a:gd name="T31" fmla="*/ 17 h 70"/>
                <a:gd name="T32" fmla="*/ 23 w 75"/>
                <a:gd name="T33" fmla="*/ 19 h 70"/>
                <a:gd name="T34" fmla="*/ 20 w 75"/>
                <a:gd name="T35" fmla="*/ 11 h 70"/>
                <a:gd name="T36" fmla="*/ 7 w 75"/>
                <a:gd name="T37" fmla="*/ 16 h 70"/>
                <a:gd name="T38" fmla="*/ 12 w 75"/>
                <a:gd name="T39" fmla="*/ 2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5" h="70">
                  <a:moveTo>
                    <a:pt x="12" y="29"/>
                  </a:moveTo>
                  <a:cubicBezTo>
                    <a:pt x="5" y="29"/>
                    <a:pt x="1" y="32"/>
                    <a:pt x="0" y="37"/>
                  </a:cubicBezTo>
                  <a:cubicBezTo>
                    <a:pt x="2" y="39"/>
                    <a:pt x="3" y="41"/>
                    <a:pt x="5" y="42"/>
                  </a:cubicBezTo>
                  <a:cubicBezTo>
                    <a:pt x="9" y="39"/>
                    <a:pt x="10" y="44"/>
                    <a:pt x="14" y="44"/>
                  </a:cubicBezTo>
                  <a:cubicBezTo>
                    <a:pt x="22" y="44"/>
                    <a:pt x="29" y="34"/>
                    <a:pt x="37" y="40"/>
                  </a:cubicBezTo>
                  <a:cubicBezTo>
                    <a:pt x="35" y="40"/>
                    <a:pt x="36" y="42"/>
                    <a:pt x="36" y="43"/>
                  </a:cubicBezTo>
                  <a:cubicBezTo>
                    <a:pt x="31" y="45"/>
                    <a:pt x="25" y="46"/>
                    <a:pt x="19" y="49"/>
                  </a:cubicBezTo>
                  <a:cubicBezTo>
                    <a:pt x="22" y="70"/>
                    <a:pt x="46" y="49"/>
                    <a:pt x="51" y="44"/>
                  </a:cubicBezTo>
                  <a:cubicBezTo>
                    <a:pt x="57" y="48"/>
                    <a:pt x="62" y="47"/>
                    <a:pt x="69" y="45"/>
                  </a:cubicBezTo>
                  <a:cubicBezTo>
                    <a:pt x="72" y="36"/>
                    <a:pt x="75" y="20"/>
                    <a:pt x="63" y="19"/>
                  </a:cubicBezTo>
                  <a:cubicBezTo>
                    <a:pt x="62" y="21"/>
                    <a:pt x="62" y="24"/>
                    <a:pt x="62" y="26"/>
                  </a:cubicBezTo>
                  <a:cubicBezTo>
                    <a:pt x="51" y="24"/>
                    <a:pt x="57" y="6"/>
                    <a:pt x="51" y="0"/>
                  </a:cubicBezTo>
                  <a:cubicBezTo>
                    <a:pt x="45" y="2"/>
                    <a:pt x="44" y="8"/>
                    <a:pt x="42" y="12"/>
                  </a:cubicBezTo>
                  <a:cubicBezTo>
                    <a:pt x="44" y="17"/>
                    <a:pt x="49" y="21"/>
                    <a:pt x="49" y="29"/>
                  </a:cubicBezTo>
                  <a:cubicBezTo>
                    <a:pt x="46" y="32"/>
                    <a:pt x="40" y="30"/>
                    <a:pt x="37" y="30"/>
                  </a:cubicBezTo>
                  <a:cubicBezTo>
                    <a:pt x="34" y="26"/>
                    <a:pt x="32" y="21"/>
                    <a:pt x="28" y="17"/>
                  </a:cubicBezTo>
                  <a:cubicBezTo>
                    <a:pt x="26" y="17"/>
                    <a:pt x="26" y="19"/>
                    <a:pt x="23" y="19"/>
                  </a:cubicBezTo>
                  <a:cubicBezTo>
                    <a:pt x="22" y="16"/>
                    <a:pt x="22" y="13"/>
                    <a:pt x="20" y="11"/>
                  </a:cubicBezTo>
                  <a:cubicBezTo>
                    <a:pt x="13" y="10"/>
                    <a:pt x="12" y="15"/>
                    <a:pt x="7" y="16"/>
                  </a:cubicBezTo>
                  <a:cubicBezTo>
                    <a:pt x="5" y="24"/>
                    <a:pt x="11" y="27"/>
                    <a:pt x="12" y="29"/>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2" name="Freeform 118"/>
            <p:cNvSpPr>
              <a:spLocks/>
            </p:cNvSpPr>
            <p:nvPr/>
          </p:nvSpPr>
          <p:spPr bwMode="auto">
            <a:xfrm>
              <a:off x="2571189" y="2105914"/>
              <a:ext cx="123517" cy="153527"/>
            </a:xfrm>
            <a:custGeom>
              <a:avLst/>
              <a:gdLst>
                <a:gd name="T0" fmla="*/ 11 w 36"/>
                <a:gd name="T1" fmla="*/ 3 h 43"/>
                <a:gd name="T2" fmla="*/ 16 w 36"/>
                <a:gd name="T3" fmla="*/ 17 h 43"/>
                <a:gd name="T4" fmla="*/ 5 w 36"/>
                <a:gd name="T5" fmla="*/ 5 h 43"/>
                <a:gd name="T6" fmla="*/ 5 w 36"/>
                <a:gd name="T7" fmla="*/ 16 h 43"/>
                <a:gd name="T8" fmla="*/ 0 w 36"/>
                <a:gd name="T9" fmla="*/ 22 h 43"/>
                <a:gd name="T10" fmla="*/ 4 w 36"/>
                <a:gd name="T11" fmla="*/ 29 h 43"/>
                <a:gd name="T12" fmla="*/ 15 w 36"/>
                <a:gd name="T13" fmla="*/ 25 h 43"/>
                <a:gd name="T14" fmla="*/ 12 w 36"/>
                <a:gd name="T15" fmla="*/ 38 h 43"/>
                <a:gd name="T16" fmla="*/ 27 w 36"/>
                <a:gd name="T17" fmla="*/ 41 h 43"/>
                <a:gd name="T18" fmla="*/ 23 w 36"/>
                <a:gd name="T19" fmla="*/ 1 h 43"/>
                <a:gd name="T20" fmla="*/ 20 w 36"/>
                <a:gd name="T21" fmla="*/ 7 h 43"/>
                <a:gd name="T22" fmla="*/ 11 w 36"/>
                <a:gd name="T23" fmla="*/ 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43">
                  <a:moveTo>
                    <a:pt x="11" y="3"/>
                  </a:moveTo>
                  <a:cubicBezTo>
                    <a:pt x="11" y="9"/>
                    <a:pt x="14" y="12"/>
                    <a:pt x="16" y="17"/>
                  </a:cubicBezTo>
                  <a:cubicBezTo>
                    <a:pt x="11" y="14"/>
                    <a:pt x="11" y="6"/>
                    <a:pt x="5" y="5"/>
                  </a:cubicBezTo>
                  <a:cubicBezTo>
                    <a:pt x="4" y="8"/>
                    <a:pt x="4" y="13"/>
                    <a:pt x="5" y="16"/>
                  </a:cubicBezTo>
                  <a:cubicBezTo>
                    <a:pt x="4" y="19"/>
                    <a:pt x="1" y="19"/>
                    <a:pt x="0" y="22"/>
                  </a:cubicBezTo>
                  <a:cubicBezTo>
                    <a:pt x="0" y="26"/>
                    <a:pt x="2" y="27"/>
                    <a:pt x="4" y="29"/>
                  </a:cubicBezTo>
                  <a:cubicBezTo>
                    <a:pt x="8" y="28"/>
                    <a:pt x="10" y="25"/>
                    <a:pt x="15" y="25"/>
                  </a:cubicBezTo>
                  <a:cubicBezTo>
                    <a:pt x="17" y="31"/>
                    <a:pt x="11" y="32"/>
                    <a:pt x="12" y="38"/>
                  </a:cubicBezTo>
                  <a:cubicBezTo>
                    <a:pt x="15" y="43"/>
                    <a:pt x="22" y="39"/>
                    <a:pt x="27" y="41"/>
                  </a:cubicBezTo>
                  <a:cubicBezTo>
                    <a:pt x="26" y="30"/>
                    <a:pt x="36" y="7"/>
                    <a:pt x="23" y="1"/>
                  </a:cubicBezTo>
                  <a:cubicBezTo>
                    <a:pt x="22" y="3"/>
                    <a:pt x="22" y="6"/>
                    <a:pt x="20" y="7"/>
                  </a:cubicBezTo>
                  <a:cubicBezTo>
                    <a:pt x="19" y="3"/>
                    <a:pt x="15" y="0"/>
                    <a:pt x="11" y="3"/>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3" name="Freeform 119"/>
            <p:cNvSpPr>
              <a:spLocks/>
            </p:cNvSpPr>
            <p:nvPr/>
          </p:nvSpPr>
          <p:spPr bwMode="auto">
            <a:xfrm>
              <a:off x="2757192" y="2105914"/>
              <a:ext cx="305160" cy="195673"/>
            </a:xfrm>
            <a:custGeom>
              <a:avLst/>
              <a:gdLst>
                <a:gd name="T0" fmla="*/ 27 w 89"/>
                <a:gd name="T1" fmla="*/ 44 h 55"/>
                <a:gd name="T2" fmla="*/ 29 w 89"/>
                <a:gd name="T3" fmla="*/ 52 h 55"/>
                <a:gd name="T4" fmla="*/ 43 w 89"/>
                <a:gd name="T5" fmla="*/ 48 h 55"/>
                <a:gd name="T6" fmla="*/ 58 w 89"/>
                <a:gd name="T7" fmla="*/ 50 h 55"/>
                <a:gd name="T8" fmla="*/ 58 w 89"/>
                <a:gd name="T9" fmla="*/ 43 h 55"/>
                <a:gd name="T10" fmla="*/ 60 w 89"/>
                <a:gd name="T11" fmla="*/ 52 h 55"/>
                <a:gd name="T12" fmla="*/ 76 w 89"/>
                <a:gd name="T13" fmla="*/ 52 h 55"/>
                <a:gd name="T14" fmla="*/ 75 w 89"/>
                <a:gd name="T15" fmla="*/ 43 h 55"/>
                <a:gd name="T16" fmla="*/ 69 w 89"/>
                <a:gd name="T17" fmla="*/ 21 h 55"/>
                <a:gd name="T18" fmla="*/ 41 w 89"/>
                <a:gd name="T19" fmla="*/ 32 h 55"/>
                <a:gd name="T20" fmla="*/ 35 w 89"/>
                <a:gd name="T21" fmla="*/ 25 h 55"/>
                <a:gd name="T22" fmla="*/ 26 w 89"/>
                <a:gd name="T23" fmla="*/ 31 h 55"/>
                <a:gd name="T24" fmla="*/ 14 w 89"/>
                <a:gd name="T25" fmla="*/ 18 h 55"/>
                <a:gd name="T26" fmla="*/ 21 w 89"/>
                <a:gd name="T27" fmla="*/ 10 h 55"/>
                <a:gd name="T28" fmla="*/ 1 w 89"/>
                <a:gd name="T29" fmla="*/ 5 h 55"/>
                <a:gd name="T30" fmla="*/ 6 w 89"/>
                <a:gd name="T31" fmla="*/ 22 h 55"/>
                <a:gd name="T32" fmla="*/ 9 w 89"/>
                <a:gd name="T33" fmla="*/ 48 h 55"/>
                <a:gd name="T34" fmla="*/ 14 w 89"/>
                <a:gd name="T35" fmla="*/ 46 h 55"/>
                <a:gd name="T36" fmla="*/ 22 w 89"/>
                <a:gd name="T37" fmla="*/ 52 h 55"/>
                <a:gd name="T38" fmla="*/ 27 w 89"/>
                <a:gd name="T39" fmla="*/ 44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9" h="55">
                  <a:moveTo>
                    <a:pt x="27" y="44"/>
                  </a:moveTo>
                  <a:cubicBezTo>
                    <a:pt x="29" y="46"/>
                    <a:pt x="28" y="51"/>
                    <a:pt x="29" y="52"/>
                  </a:cubicBezTo>
                  <a:cubicBezTo>
                    <a:pt x="35" y="55"/>
                    <a:pt x="41" y="52"/>
                    <a:pt x="43" y="48"/>
                  </a:cubicBezTo>
                  <a:cubicBezTo>
                    <a:pt x="45" y="53"/>
                    <a:pt x="53" y="52"/>
                    <a:pt x="58" y="50"/>
                  </a:cubicBezTo>
                  <a:cubicBezTo>
                    <a:pt x="59" y="47"/>
                    <a:pt x="56" y="43"/>
                    <a:pt x="58" y="43"/>
                  </a:cubicBezTo>
                  <a:cubicBezTo>
                    <a:pt x="59" y="45"/>
                    <a:pt x="59" y="49"/>
                    <a:pt x="60" y="52"/>
                  </a:cubicBezTo>
                  <a:cubicBezTo>
                    <a:pt x="65" y="55"/>
                    <a:pt x="69" y="52"/>
                    <a:pt x="76" y="52"/>
                  </a:cubicBezTo>
                  <a:cubicBezTo>
                    <a:pt x="77" y="48"/>
                    <a:pt x="75" y="46"/>
                    <a:pt x="75" y="43"/>
                  </a:cubicBezTo>
                  <a:cubicBezTo>
                    <a:pt x="89" y="35"/>
                    <a:pt x="73" y="27"/>
                    <a:pt x="69" y="21"/>
                  </a:cubicBezTo>
                  <a:cubicBezTo>
                    <a:pt x="55" y="20"/>
                    <a:pt x="45" y="22"/>
                    <a:pt x="41" y="32"/>
                  </a:cubicBezTo>
                  <a:cubicBezTo>
                    <a:pt x="38" y="30"/>
                    <a:pt x="37" y="27"/>
                    <a:pt x="35" y="25"/>
                  </a:cubicBezTo>
                  <a:cubicBezTo>
                    <a:pt x="31" y="26"/>
                    <a:pt x="26" y="27"/>
                    <a:pt x="26" y="31"/>
                  </a:cubicBezTo>
                  <a:cubicBezTo>
                    <a:pt x="24" y="25"/>
                    <a:pt x="22" y="18"/>
                    <a:pt x="14" y="18"/>
                  </a:cubicBezTo>
                  <a:cubicBezTo>
                    <a:pt x="13" y="12"/>
                    <a:pt x="21" y="15"/>
                    <a:pt x="21" y="10"/>
                  </a:cubicBezTo>
                  <a:cubicBezTo>
                    <a:pt x="21" y="5"/>
                    <a:pt x="8" y="0"/>
                    <a:pt x="1" y="5"/>
                  </a:cubicBezTo>
                  <a:cubicBezTo>
                    <a:pt x="0" y="13"/>
                    <a:pt x="5" y="16"/>
                    <a:pt x="6" y="22"/>
                  </a:cubicBezTo>
                  <a:cubicBezTo>
                    <a:pt x="7" y="31"/>
                    <a:pt x="3" y="41"/>
                    <a:pt x="9" y="48"/>
                  </a:cubicBezTo>
                  <a:cubicBezTo>
                    <a:pt x="13" y="49"/>
                    <a:pt x="12" y="48"/>
                    <a:pt x="14" y="46"/>
                  </a:cubicBezTo>
                  <a:cubicBezTo>
                    <a:pt x="15" y="50"/>
                    <a:pt x="17" y="52"/>
                    <a:pt x="22" y="52"/>
                  </a:cubicBezTo>
                  <a:cubicBezTo>
                    <a:pt x="26" y="51"/>
                    <a:pt x="24" y="45"/>
                    <a:pt x="27" y="44"/>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4" name="Freeform 120"/>
            <p:cNvSpPr>
              <a:spLocks/>
            </p:cNvSpPr>
            <p:nvPr/>
          </p:nvSpPr>
          <p:spPr bwMode="auto">
            <a:xfrm>
              <a:off x="2104730" y="2288042"/>
              <a:ext cx="213613" cy="248355"/>
            </a:xfrm>
            <a:custGeom>
              <a:avLst/>
              <a:gdLst>
                <a:gd name="T0" fmla="*/ 14 w 62"/>
                <a:gd name="T1" fmla="*/ 68 h 70"/>
                <a:gd name="T2" fmla="*/ 20 w 62"/>
                <a:gd name="T3" fmla="*/ 69 h 70"/>
                <a:gd name="T4" fmla="*/ 32 w 62"/>
                <a:gd name="T5" fmla="*/ 62 h 70"/>
                <a:gd name="T6" fmla="*/ 34 w 62"/>
                <a:gd name="T7" fmla="*/ 48 h 70"/>
                <a:gd name="T8" fmla="*/ 62 w 62"/>
                <a:gd name="T9" fmla="*/ 20 h 70"/>
                <a:gd name="T10" fmla="*/ 39 w 62"/>
                <a:gd name="T11" fmla="*/ 10 h 70"/>
                <a:gd name="T12" fmla="*/ 27 w 62"/>
                <a:gd name="T13" fmla="*/ 0 h 70"/>
                <a:gd name="T14" fmla="*/ 6 w 62"/>
                <a:gd name="T15" fmla="*/ 3 h 70"/>
                <a:gd name="T16" fmla="*/ 4 w 62"/>
                <a:gd name="T17" fmla="*/ 34 h 70"/>
                <a:gd name="T18" fmla="*/ 5 w 62"/>
                <a:gd name="T19" fmla="*/ 43 h 70"/>
                <a:gd name="T20" fmla="*/ 0 w 62"/>
                <a:gd name="T21" fmla="*/ 51 h 70"/>
                <a:gd name="T22" fmla="*/ 14 w 62"/>
                <a:gd name="T23" fmla="*/ 68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2" h="70">
                  <a:moveTo>
                    <a:pt x="14" y="68"/>
                  </a:moveTo>
                  <a:cubicBezTo>
                    <a:pt x="17" y="68"/>
                    <a:pt x="17" y="70"/>
                    <a:pt x="20" y="69"/>
                  </a:cubicBezTo>
                  <a:cubicBezTo>
                    <a:pt x="23" y="65"/>
                    <a:pt x="27" y="63"/>
                    <a:pt x="32" y="62"/>
                  </a:cubicBezTo>
                  <a:cubicBezTo>
                    <a:pt x="33" y="58"/>
                    <a:pt x="34" y="54"/>
                    <a:pt x="34" y="48"/>
                  </a:cubicBezTo>
                  <a:cubicBezTo>
                    <a:pt x="42" y="38"/>
                    <a:pt x="50" y="28"/>
                    <a:pt x="62" y="20"/>
                  </a:cubicBezTo>
                  <a:cubicBezTo>
                    <a:pt x="57" y="15"/>
                    <a:pt x="51" y="4"/>
                    <a:pt x="39" y="10"/>
                  </a:cubicBezTo>
                  <a:cubicBezTo>
                    <a:pt x="35" y="6"/>
                    <a:pt x="32" y="2"/>
                    <a:pt x="27" y="0"/>
                  </a:cubicBezTo>
                  <a:cubicBezTo>
                    <a:pt x="22" y="3"/>
                    <a:pt x="12" y="1"/>
                    <a:pt x="6" y="3"/>
                  </a:cubicBezTo>
                  <a:cubicBezTo>
                    <a:pt x="11" y="13"/>
                    <a:pt x="12" y="26"/>
                    <a:pt x="4" y="34"/>
                  </a:cubicBezTo>
                  <a:cubicBezTo>
                    <a:pt x="3" y="38"/>
                    <a:pt x="5" y="40"/>
                    <a:pt x="5" y="43"/>
                  </a:cubicBezTo>
                  <a:cubicBezTo>
                    <a:pt x="4" y="46"/>
                    <a:pt x="1" y="48"/>
                    <a:pt x="0" y="51"/>
                  </a:cubicBezTo>
                  <a:cubicBezTo>
                    <a:pt x="5" y="56"/>
                    <a:pt x="15" y="56"/>
                    <a:pt x="14" y="68"/>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5" name="Freeform 121"/>
            <p:cNvSpPr>
              <a:spLocks/>
            </p:cNvSpPr>
            <p:nvPr/>
          </p:nvSpPr>
          <p:spPr bwMode="auto">
            <a:xfrm>
              <a:off x="2694706" y="2309114"/>
              <a:ext cx="123517" cy="164065"/>
            </a:xfrm>
            <a:custGeom>
              <a:avLst/>
              <a:gdLst>
                <a:gd name="T0" fmla="*/ 27 w 36"/>
                <a:gd name="T1" fmla="*/ 32 h 46"/>
                <a:gd name="T2" fmla="*/ 36 w 36"/>
                <a:gd name="T3" fmla="*/ 8 h 46"/>
                <a:gd name="T4" fmla="*/ 23 w 36"/>
                <a:gd name="T5" fmla="*/ 6 h 46"/>
                <a:gd name="T6" fmla="*/ 8 w 36"/>
                <a:gd name="T7" fmla="*/ 11 h 46"/>
                <a:gd name="T8" fmla="*/ 8 w 36"/>
                <a:gd name="T9" fmla="*/ 42 h 46"/>
                <a:gd name="T10" fmla="*/ 17 w 36"/>
                <a:gd name="T11" fmla="*/ 37 h 46"/>
                <a:gd name="T12" fmla="*/ 15 w 36"/>
                <a:gd name="T13" fmla="*/ 31 h 46"/>
                <a:gd name="T14" fmla="*/ 27 w 36"/>
                <a:gd name="T15" fmla="*/ 32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46">
                  <a:moveTo>
                    <a:pt x="27" y="32"/>
                  </a:moveTo>
                  <a:cubicBezTo>
                    <a:pt x="30" y="24"/>
                    <a:pt x="34" y="17"/>
                    <a:pt x="36" y="8"/>
                  </a:cubicBezTo>
                  <a:cubicBezTo>
                    <a:pt x="34" y="4"/>
                    <a:pt x="28" y="5"/>
                    <a:pt x="23" y="6"/>
                  </a:cubicBezTo>
                  <a:cubicBezTo>
                    <a:pt x="20" y="2"/>
                    <a:pt x="3" y="0"/>
                    <a:pt x="8" y="11"/>
                  </a:cubicBezTo>
                  <a:cubicBezTo>
                    <a:pt x="0" y="17"/>
                    <a:pt x="6" y="34"/>
                    <a:pt x="8" y="42"/>
                  </a:cubicBezTo>
                  <a:cubicBezTo>
                    <a:pt x="12" y="46"/>
                    <a:pt x="17" y="43"/>
                    <a:pt x="17" y="37"/>
                  </a:cubicBezTo>
                  <a:cubicBezTo>
                    <a:pt x="18" y="35"/>
                    <a:pt x="13" y="32"/>
                    <a:pt x="15" y="31"/>
                  </a:cubicBezTo>
                  <a:cubicBezTo>
                    <a:pt x="19" y="31"/>
                    <a:pt x="22" y="32"/>
                    <a:pt x="27" y="32"/>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6" name="Freeform 122"/>
            <p:cNvSpPr>
              <a:spLocks/>
            </p:cNvSpPr>
            <p:nvPr/>
          </p:nvSpPr>
          <p:spPr bwMode="auto">
            <a:xfrm>
              <a:off x="2568283" y="2330186"/>
              <a:ext cx="140956" cy="192663"/>
            </a:xfrm>
            <a:custGeom>
              <a:avLst/>
              <a:gdLst>
                <a:gd name="T0" fmla="*/ 27 w 41"/>
                <a:gd name="T1" fmla="*/ 20 h 54"/>
                <a:gd name="T2" fmla="*/ 26 w 41"/>
                <a:gd name="T3" fmla="*/ 18 h 54"/>
                <a:gd name="T4" fmla="*/ 35 w 41"/>
                <a:gd name="T5" fmla="*/ 5 h 54"/>
                <a:gd name="T6" fmla="*/ 32 w 41"/>
                <a:gd name="T7" fmla="*/ 2 h 54"/>
                <a:gd name="T8" fmla="*/ 22 w 41"/>
                <a:gd name="T9" fmla="*/ 6 h 54"/>
                <a:gd name="T10" fmla="*/ 10 w 41"/>
                <a:gd name="T11" fmla="*/ 3 h 54"/>
                <a:gd name="T12" fmla="*/ 16 w 41"/>
                <a:gd name="T13" fmla="*/ 17 h 54"/>
                <a:gd name="T14" fmla="*/ 11 w 41"/>
                <a:gd name="T15" fmla="*/ 25 h 54"/>
                <a:gd name="T16" fmla="*/ 3 w 41"/>
                <a:gd name="T17" fmla="*/ 17 h 54"/>
                <a:gd name="T18" fmla="*/ 0 w 41"/>
                <a:gd name="T19" fmla="*/ 25 h 54"/>
                <a:gd name="T20" fmla="*/ 15 w 41"/>
                <a:gd name="T21" fmla="*/ 39 h 54"/>
                <a:gd name="T22" fmla="*/ 25 w 41"/>
                <a:gd name="T23" fmla="*/ 54 h 54"/>
                <a:gd name="T24" fmla="*/ 29 w 41"/>
                <a:gd name="T25" fmla="*/ 47 h 54"/>
                <a:gd name="T26" fmla="*/ 33 w 41"/>
                <a:gd name="T27" fmla="*/ 48 h 54"/>
                <a:gd name="T28" fmla="*/ 27 w 41"/>
                <a:gd name="T29" fmla="*/ 2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 h="54">
                  <a:moveTo>
                    <a:pt x="27" y="20"/>
                  </a:moveTo>
                  <a:cubicBezTo>
                    <a:pt x="27" y="19"/>
                    <a:pt x="27" y="19"/>
                    <a:pt x="26" y="18"/>
                  </a:cubicBezTo>
                  <a:cubicBezTo>
                    <a:pt x="29" y="14"/>
                    <a:pt x="34" y="12"/>
                    <a:pt x="35" y="5"/>
                  </a:cubicBezTo>
                  <a:cubicBezTo>
                    <a:pt x="34" y="3"/>
                    <a:pt x="32" y="3"/>
                    <a:pt x="32" y="2"/>
                  </a:cubicBezTo>
                  <a:cubicBezTo>
                    <a:pt x="27" y="1"/>
                    <a:pt x="24" y="3"/>
                    <a:pt x="22" y="6"/>
                  </a:cubicBezTo>
                  <a:cubicBezTo>
                    <a:pt x="20" y="0"/>
                    <a:pt x="17" y="3"/>
                    <a:pt x="10" y="3"/>
                  </a:cubicBezTo>
                  <a:cubicBezTo>
                    <a:pt x="10" y="10"/>
                    <a:pt x="15" y="11"/>
                    <a:pt x="16" y="17"/>
                  </a:cubicBezTo>
                  <a:cubicBezTo>
                    <a:pt x="14" y="19"/>
                    <a:pt x="14" y="24"/>
                    <a:pt x="11" y="25"/>
                  </a:cubicBezTo>
                  <a:cubicBezTo>
                    <a:pt x="7" y="23"/>
                    <a:pt x="7" y="18"/>
                    <a:pt x="3" y="17"/>
                  </a:cubicBezTo>
                  <a:cubicBezTo>
                    <a:pt x="2" y="20"/>
                    <a:pt x="1" y="22"/>
                    <a:pt x="0" y="25"/>
                  </a:cubicBezTo>
                  <a:cubicBezTo>
                    <a:pt x="4" y="30"/>
                    <a:pt x="7" y="37"/>
                    <a:pt x="15" y="39"/>
                  </a:cubicBezTo>
                  <a:cubicBezTo>
                    <a:pt x="18" y="45"/>
                    <a:pt x="19" y="51"/>
                    <a:pt x="25" y="54"/>
                  </a:cubicBezTo>
                  <a:cubicBezTo>
                    <a:pt x="28" y="53"/>
                    <a:pt x="29" y="49"/>
                    <a:pt x="29" y="47"/>
                  </a:cubicBezTo>
                  <a:cubicBezTo>
                    <a:pt x="30" y="48"/>
                    <a:pt x="31" y="48"/>
                    <a:pt x="33" y="48"/>
                  </a:cubicBezTo>
                  <a:cubicBezTo>
                    <a:pt x="39" y="38"/>
                    <a:pt x="41" y="20"/>
                    <a:pt x="27" y="2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7" name="Freeform 123"/>
            <p:cNvSpPr>
              <a:spLocks/>
            </p:cNvSpPr>
            <p:nvPr/>
          </p:nvSpPr>
          <p:spPr bwMode="auto">
            <a:xfrm>
              <a:off x="2242778" y="2376847"/>
              <a:ext cx="370552" cy="323613"/>
            </a:xfrm>
            <a:custGeom>
              <a:avLst/>
              <a:gdLst>
                <a:gd name="T0" fmla="*/ 99 w 108"/>
                <a:gd name="T1" fmla="*/ 67 h 91"/>
                <a:gd name="T2" fmla="*/ 107 w 108"/>
                <a:gd name="T3" fmla="*/ 70 h 91"/>
                <a:gd name="T4" fmla="*/ 85 w 108"/>
                <a:gd name="T5" fmla="*/ 42 h 91"/>
                <a:gd name="T6" fmla="*/ 87 w 108"/>
                <a:gd name="T7" fmla="*/ 35 h 91"/>
                <a:gd name="T8" fmla="*/ 64 w 108"/>
                <a:gd name="T9" fmla="*/ 0 h 91"/>
                <a:gd name="T10" fmla="*/ 65 w 108"/>
                <a:gd name="T11" fmla="*/ 31 h 91"/>
                <a:gd name="T12" fmla="*/ 61 w 108"/>
                <a:gd name="T13" fmla="*/ 14 h 91"/>
                <a:gd name="T14" fmla="*/ 50 w 108"/>
                <a:gd name="T15" fmla="*/ 8 h 91"/>
                <a:gd name="T16" fmla="*/ 52 w 108"/>
                <a:gd name="T17" fmla="*/ 17 h 91"/>
                <a:gd name="T18" fmla="*/ 44 w 108"/>
                <a:gd name="T19" fmla="*/ 20 h 91"/>
                <a:gd name="T20" fmla="*/ 34 w 108"/>
                <a:gd name="T21" fmla="*/ 9 h 91"/>
                <a:gd name="T22" fmla="*/ 28 w 108"/>
                <a:gd name="T23" fmla="*/ 14 h 91"/>
                <a:gd name="T24" fmla="*/ 30 w 108"/>
                <a:gd name="T25" fmla="*/ 3 h 91"/>
                <a:gd name="T26" fmla="*/ 27 w 108"/>
                <a:gd name="T27" fmla="*/ 0 h 91"/>
                <a:gd name="T28" fmla="*/ 0 w 108"/>
                <a:gd name="T29" fmla="*/ 29 h 91"/>
                <a:gd name="T30" fmla="*/ 11 w 108"/>
                <a:gd name="T31" fmla="*/ 38 h 91"/>
                <a:gd name="T32" fmla="*/ 20 w 108"/>
                <a:gd name="T33" fmla="*/ 37 h 91"/>
                <a:gd name="T34" fmla="*/ 3 w 108"/>
                <a:gd name="T35" fmla="*/ 45 h 91"/>
                <a:gd name="T36" fmla="*/ 43 w 108"/>
                <a:gd name="T37" fmla="*/ 58 h 91"/>
                <a:gd name="T38" fmla="*/ 9 w 108"/>
                <a:gd name="T39" fmla="*/ 63 h 91"/>
                <a:gd name="T40" fmla="*/ 30 w 108"/>
                <a:gd name="T41" fmla="*/ 76 h 91"/>
                <a:gd name="T42" fmla="*/ 32 w 108"/>
                <a:gd name="T43" fmla="*/ 79 h 91"/>
                <a:gd name="T44" fmla="*/ 32 w 108"/>
                <a:gd name="T45" fmla="*/ 86 h 91"/>
                <a:gd name="T46" fmla="*/ 74 w 108"/>
                <a:gd name="T47" fmla="*/ 73 h 91"/>
                <a:gd name="T48" fmla="*/ 100 w 108"/>
                <a:gd name="T49" fmla="*/ 71 h 91"/>
                <a:gd name="T50" fmla="*/ 93 w 108"/>
                <a:gd name="T51" fmla="*/ 73 h 91"/>
                <a:gd name="T52" fmla="*/ 93 w 108"/>
                <a:gd name="T53" fmla="*/ 70 h 91"/>
                <a:gd name="T54" fmla="*/ 99 w 108"/>
                <a:gd name="T55" fmla="*/ 67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8" h="91">
                  <a:moveTo>
                    <a:pt x="99" y="67"/>
                  </a:moveTo>
                  <a:cubicBezTo>
                    <a:pt x="102" y="68"/>
                    <a:pt x="103" y="71"/>
                    <a:pt x="107" y="70"/>
                  </a:cubicBezTo>
                  <a:cubicBezTo>
                    <a:pt x="108" y="53"/>
                    <a:pt x="88" y="57"/>
                    <a:pt x="85" y="42"/>
                  </a:cubicBezTo>
                  <a:cubicBezTo>
                    <a:pt x="86" y="40"/>
                    <a:pt x="86" y="38"/>
                    <a:pt x="87" y="35"/>
                  </a:cubicBezTo>
                  <a:cubicBezTo>
                    <a:pt x="81" y="21"/>
                    <a:pt x="82" y="1"/>
                    <a:pt x="64" y="0"/>
                  </a:cubicBezTo>
                  <a:cubicBezTo>
                    <a:pt x="59" y="11"/>
                    <a:pt x="70" y="24"/>
                    <a:pt x="65" y="31"/>
                  </a:cubicBezTo>
                  <a:cubicBezTo>
                    <a:pt x="64" y="25"/>
                    <a:pt x="60" y="22"/>
                    <a:pt x="61" y="14"/>
                  </a:cubicBezTo>
                  <a:cubicBezTo>
                    <a:pt x="59" y="11"/>
                    <a:pt x="54" y="7"/>
                    <a:pt x="50" y="8"/>
                  </a:cubicBezTo>
                  <a:cubicBezTo>
                    <a:pt x="50" y="11"/>
                    <a:pt x="52" y="13"/>
                    <a:pt x="52" y="17"/>
                  </a:cubicBezTo>
                  <a:cubicBezTo>
                    <a:pt x="48" y="16"/>
                    <a:pt x="48" y="20"/>
                    <a:pt x="44" y="20"/>
                  </a:cubicBezTo>
                  <a:cubicBezTo>
                    <a:pt x="46" y="13"/>
                    <a:pt x="42" y="9"/>
                    <a:pt x="34" y="9"/>
                  </a:cubicBezTo>
                  <a:cubicBezTo>
                    <a:pt x="32" y="10"/>
                    <a:pt x="33" y="15"/>
                    <a:pt x="28" y="14"/>
                  </a:cubicBezTo>
                  <a:cubicBezTo>
                    <a:pt x="27" y="9"/>
                    <a:pt x="30" y="7"/>
                    <a:pt x="30" y="3"/>
                  </a:cubicBezTo>
                  <a:cubicBezTo>
                    <a:pt x="29" y="2"/>
                    <a:pt x="27" y="1"/>
                    <a:pt x="27" y="0"/>
                  </a:cubicBezTo>
                  <a:cubicBezTo>
                    <a:pt x="14" y="7"/>
                    <a:pt x="3" y="14"/>
                    <a:pt x="0" y="29"/>
                  </a:cubicBezTo>
                  <a:cubicBezTo>
                    <a:pt x="4" y="32"/>
                    <a:pt x="7" y="36"/>
                    <a:pt x="11" y="38"/>
                  </a:cubicBezTo>
                  <a:cubicBezTo>
                    <a:pt x="14" y="38"/>
                    <a:pt x="18" y="35"/>
                    <a:pt x="20" y="37"/>
                  </a:cubicBezTo>
                  <a:cubicBezTo>
                    <a:pt x="18" y="44"/>
                    <a:pt x="6" y="40"/>
                    <a:pt x="3" y="45"/>
                  </a:cubicBezTo>
                  <a:cubicBezTo>
                    <a:pt x="7" y="59"/>
                    <a:pt x="37" y="45"/>
                    <a:pt x="43" y="58"/>
                  </a:cubicBezTo>
                  <a:cubicBezTo>
                    <a:pt x="30" y="58"/>
                    <a:pt x="16" y="57"/>
                    <a:pt x="9" y="63"/>
                  </a:cubicBezTo>
                  <a:cubicBezTo>
                    <a:pt x="12" y="71"/>
                    <a:pt x="17" y="78"/>
                    <a:pt x="30" y="76"/>
                  </a:cubicBezTo>
                  <a:cubicBezTo>
                    <a:pt x="30" y="77"/>
                    <a:pt x="31" y="78"/>
                    <a:pt x="32" y="79"/>
                  </a:cubicBezTo>
                  <a:cubicBezTo>
                    <a:pt x="32" y="81"/>
                    <a:pt x="32" y="84"/>
                    <a:pt x="32" y="86"/>
                  </a:cubicBezTo>
                  <a:cubicBezTo>
                    <a:pt x="47" y="91"/>
                    <a:pt x="66" y="82"/>
                    <a:pt x="74" y="73"/>
                  </a:cubicBezTo>
                  <a:cubicBezTo>
                    <a:pt x="76" y="84"/>
                    <a:pt x="108" y="88"/>
                    <a:pt x="100" y="71"/>
                  </a:cubicBezTo>
                  <a:cubicBezTo>
                    <a:pt x="97" y="70"/>
                    <a:pt x="95" y="75"/>
                    <a:pt x="93" y="73"/>
                  </a:cubicBezTo>
                  <a:cubicBezTo>
                    <a:pt x="93" y="71"/>
                    <a:pt x="93" y="70"/>
                    <a:pt x="93" y="70"/>
                  </a:cubicBezTo>
                  <a:cubicBezTo>
                    <a:pt x="97" y="71"/>
                    <a:pt x="96" y="67"/>
                    <a:pt x="99" y="6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8" name="Freeform 124"/>
            <p:cNvSpPr>
              <a:spLocks/>
            </p:cNvSpPr>
            <p:nvPr/>
          </p:nvSpPr>
          <p:spPr bwMode="auto">
            <a:xfrm>
              <a:off x="5637325" y="2369323"/>
              <a:ext cx="130783" cy="206209"/>
            </a:xfrm>
            <a:custGeom>
              <a:avLst/>
              <a:gdLst>
                <a:gd name="T0" fmla="*/ 10 w 38"/>
                <a:gd name="T1" fmla="*/ 39 h 58"/>
                <a:gd name="T2" fmla="*/ 17 w 38"/>
                <a:gd name="T3" fmla="*/ 46 h 58"/>
                <a:gd name="T4" fmla="*/ 14 w 38"/>
                <a:gd name="T5" fmla="*/ 53 h 58"/>
                <a:gd name="T6" fmla="*/ 20 w 38"/>
                <a:gd name="T7" fmla="*/ 53 h 58"/>
                <a:gd name="T8" fmla="*/ 21 w 38"/>
                <a:gd name="T9" fmla="*/ 58 h 58"/>
                <a:gd name="T10" fmla="*/ 37 w 38"/>
                <a:gd name="T11" fmla="*/ 54 h 58"/>
                <a:gd name="T12" fmla="*/ 33 w 38"/>
                <a:gd name="T13" fmla="*/ 47 h 58"/>
                <a:gd name="T14" fmla="*/ 27 w 38"/>
                <a:gd name="T15" fmla="*/ 17 h 58"/>
                <a:gd name="T16" fmla="*/ 32 w 38"/>
                <a:gd name="T17" fmla="*/ 6 h 58"/>
                <a:gd name="T18" fmla="*/ 13 w 38"/>
                <a:gd name="T19" fmla="*/ 6 h 58"/>
                <a:gd name="T20" fmla="*/ 8 w 38"/>
                <a:gd name="T21" fmla="*/ 16 h 58"/>
                <a:gd name="T22" fmla="*/ 10 w 38"/>
                <a:gd name="T23" fmla="*/ 20 h 58"/>
                <a:gd name="T24" fmla="*/ 6 w 38"/>
                <a:gd name="T25" fmla="*/ 28 h 58"/>
                <a:gd name="T26" fmla="*/ 2 w 38"/>
                <a:gd name="T27" fmla="*/ 28 h 58"/>
                <a:gd name="T28" fmla="*/ 3 w 38"/>
                <a:gd name="T29" fmla="*/ 40 h 58"/>
                <a:gd name="T30" fmla="*/ 10 w 38"/>
                <a:gd name="T31" fmla="*/ 39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8" h="58">
                  <a:moveTo>
                    <a:pt x="10" y="39"/>
                  </a:moveTo>
                  <a:cubicBezTo>
                    <a:pt x="13" y="41"/>
                    <a:pt x="16" y="42"/>
                    <a:pt x="17" y="46"/>
                  </a:cubicBezTo>
                  <a:cubicBezTo>
                    <a:pt x="15" y="48"/>
                    <a:pt x="13" y="48"/>
                    <a:pt x="14" y="53"/>
                  </a:cubicBezTo>
                  <a:cubicBezTo>
                    <a:pt x="16" y="54"/>
                    <a:pt x="16" y="54"/>
                    <a:pt x="20" y="53"/>
                  </a:cubicBezTo>
                  <a:cubicBezTo>
                    <a:pt x="19" y="56"/>
                    <a:pt x="21" y="56"/>
                    <a:pt x="21" y="58"/>
                  </a:cubicBezTo>
                  <a:cubicBezTo>
                    <a:pt x="25" y="56"/>
                    <a:pt x="29" y="53"/>
                    <a:pt x="37" y="54"/>
                  </a:cubicBezTo>
                  <a:cubicBezTo>
                    <a:pt x="38" y="49"/>
                    <a:pt x="34" y="50"/>
                    <a:pt x="33" y="47"/>
                  </a:cubicBezTo>
                  <a:cubicBezTo>
                    <a:pt x="28" y="40"/>
                    <a:pt x="25" y="28"/>
                    <a:pt x="27" y="17"/>
                  </a:cubicBezTo>
                  <a:cubicBezTo>
                    <a:pt x="31" y="15"/>
                    <a:pt x="32" y="11"/>
                    <a:pt x="32" y="6"/>
                  </a:cubicBezTo>
                  <a:cubicBezTo>
                    <a:pt x="26" y="0"/>
                    <a:pt x="20" y="6"/>
                    <a:pt x="13" y="6"/>
                  </a:cubicBezTo>
                  <a:cubicBezTo>
                    <a:pt x="12" y="11"/>
                    <a:pt x="8" y="12"/>
                    <a:pt x="8" y="16"/>
                  </a:cubicBezTo>
                  <a:cubicBezTo>
                    <a:pt x="8" y="19"/>
                    <a:pt x="11" y="17"/>
                    <a:pt x="10" y="20"/>
                  </a:cubicBezTo>
                  <a:cubicBezTo>
                    <a:pt x="9" y="22"/>
                    <a:pt x="8" y="26"/>
                    <a:pt x="6" y="28"/>
                  </a:cubicBezTo>
                  <a:cubicBezTo>
                    <a:pt x="5" y="27"/>
                    <a:pt x="3" y="27"/>
                    <a:pt x="2" y="28"/>
                  </a:cubicBezTo>
                  <a:cubicBezTo>
                    <a:pt x="0" y="32"/>
                    <a:pt x="1" y="37"/>
                    <a:pt x="3" y="40"/>
                  </a:cubicBezTo>
                  <a:cubicBezTo>
                    <a:pt x="7" y="41"/>
                    <a:pt x="8" y="39"/>
                    <a:pt x="10" y="39"/>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9" name="Freeform 125"/>
            <p:cNvSpPr>
              <a:spLocks/>
            </p:cNvSpPr>
            <p:nvPr/>
          </p:nvSpPr>
          <p:spPr bwMode="auto">
            <a:xfrm>
              <a:off x="4140586" y="2426518"/>
              <a:ext cx="50861" cy="49672"/>
            </a:xfrm>
            <a:custGeom>
              <a:avLst/>
              <a:gdLst>
                <a:gd name="T0" fmla="*/ 12 w 15"/>
                <a:gd name="T1" fmla="*/ 14 h 14"/>
                <a:gd name="T2" fmla="*/ 0 w 15"/>
                <a:gd name="T3" fmla="*/ 0 h 14"/>
                <a:gd name="T4" fmla="*/ 12 w 15"/>
                <a:gd name="T5" fmla="*/ 14 h 14"/>
              </a:gdLst>
              <a:ahLst/>
              <a:cxnLst>
                <a:cxn ang="0">
                  <a:pos x="T0" y="T1"/>
                </a:cxn>
                <a:cxn ang="0">
                  <a:pos x="T2" y="T3"/>
                </a:cxn>
                <a:cxn ang="0">
                  <a:pos x="T4" y="T5"/>
                </a:cxn>
              </a:cxnLst>
              <a:rect l="0" t="0" r="r" b="b"/>
              <a:pathLst>
                <a:path w="15" h="14">
                  <a:moveTo>
                    <a:pt x="12" y="14"/>
                  </a:moveTo>
                  <a:cubicBezTo>
                    <a:pt x="15" y="6"/>
                    <a:pt x="9" y="0"/>
                    <a:pt x="0" y="0"/>
                  </a:cubicBezTo>
                  <a:cubicBezTo>
                    <a:pt x="1" y="8"/>
                    <a:pt x="7" y="11"/>
                    <a:pt x="12" y="14"/>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0" name="Freeform 126"/>
            <p:cNvSpPr>
              <a:spLocks/>
            </p:cNvSpPr>
            <p:nvPr/>
          </p:nvSpPr>
          <p:spPr bwMode="auto">
            <a:xfrm>
              <a:off x="3518639" y="2586066"/>
              <a:ext cx="69752" cy="57197"/>
            </a:xfrm>
            <a:custGeom>
              <a:avLst/>
              <a:gdLst>
                <a:gd name="T0" fmla="*/ 20 w 20"/>
                <a:gd name="T1" fmla="*/ 12 h 16"/>
                <a:gd name="T2" fmla="*/ 2 w 20"/>
                <a:gd name="T3" fmla="*/ 0 h 16"/>
                <a:gd name="T4" fmla="*/ 10 w 20"/>
                <a:gd name="T5" fmla="*/ 16 h 16"/>
                <a:gd name="T6" fmla="*/ 20 w 20"/>
                <a:gd name="T7" fmla="*/ 12 h 16"/>
              </a:gdLst>
              <a:ahLst/>
              <a:cxnLst>
                <a:cxn ang="0">
                  <a:pos x="T0" y="T1"/>
                </a:cxn>
                <a:cxn ang="0">
                  <a:pos x="T2" y="T3"/>
                </a:cxn>
                <a:cxn ang="0">
                  <a:pos x="T4" y="T5"/>
                </a:cxn>
                <a:cxn ang="0">
                  <a:pos x="T6" y="T7"/>
                </a:cxn>
              </a:cxnLst>
              <a:rect l="0" t="0" r="r" b="b"/>
              <a:pathLst>
                <a:path w="20" h="16">
                  <a:moveTo>
                    <a:pt x="20" y="12"/>
                  </a:moveTo>
                  <a:cubicBezTo>
                    <a:pt x="17" y="5"/>
                    <a:pt x="11" y="1"/>
                    <a:pt x="2" y="0"/>
                  </a:cubicBezTo>
                  <a:cubicBezTo>
                    <a:pt x="0" y="8"/>
                    <a:pt x="4" y="15"/>
                    <a:pt x="10" y="16"/>
                  </a:cubicBezTo>
                  <a:cubicBezTo>
                    <a:pt x="13" y="15"/>
                    <a:pt x="16" y="14"/>
                    <a:pt x="20" y="12"/>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1" name="Freeform 127"/>
            <p:cNvSpPr>
              <a:spLocks/>
            </p:cNvSpPr>
            <p:nvPr/>
          </p:nvSpPr>
          <p:spPr bwMode="auto">
            <a:xfrm>
              <a:off x="2633675" y="2608643"/>
              <a:ext cx="85736" cy="109879"/>
            </a:xfrm>
            <a:custGeom>
              <a:avLst/>
              <a:gdLst>
                <a:gd name="T0" fmla="*/ 0 w 25"/>
                <a:gd name="T1" fmla="*/ 16 h 31"/>
                <a:gd name="T2" fmla="*/ 25 w 25"/>
                <a:gd name="T3" fmla="*/ 18 h 31"/>
                <a:gd name="T4" fmla="*/ 10 w 25"/>
                <a:gd name="T5" fmla="*/ 0 h 31"/>
                <a:gd name="T6" fmla="*/ 0 w 25"/>
                <a:gd name="T7" fmla="*/ 16 h 31"/>
              </a:gdLst>
              <a:ahLst/>
              <a:cxnLst>
                <a:cxn ang="0">
                  <a:pos x="T0" y="T1"/>
                </a:cxn>
                <a:cxn ang="0">
                  <a:pos x="T2" y="T3"/>
                </a:cxn>
                <a:cxn ang="0">
                  <a:pos x="T4" y="T5"/>
                </a:cxn>
                <a:cxn ang="0">
                  <a:pos x="T6" y="T7"/>
                </a:cxn>
              </a:cxnLst>
              <a:rect l="0" t="0" r="r" b="b"/>
              <a:pathLst>
                <a:path w="25" h="31">
                  <a:moveTo>
                    <a:pt x="0" y="16"/>
                  </a:moveTo>
                  <a:cubicBezTo>
                    <a:pt x="8" y="19"/>
                    <a:pt x="20" y="31"/>
                    <a:pt x="25" y="18"/>
                  </a:cubicBezTo>
                  <a:cubicBezTo>
                    <a:pt x="20" y="12"/>
                    <a:pt x="18" y="3"/>
                    <a:pt x="10" y="0"/>
                  </a:cubicBezTo>
                  <a:cubicBezTo>
                    <a:pt x="6" y="5"/>
                    <a:pt x="4" y="11"/>
                    <a:pt x="0" y="16"/>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2" name="Freeform 128"/>
            <p:cNvSpPr>
              <a:spLocks/>
            </p:cNvSpPr>
            <p:nvPr/>
          </p:nvSpPr>
          <p:spPr bwMode="auto">
            <a:xfrm>
              <a:off x="3069618" y="2664337"/>
              <a:ext cx="75564" cy="121919"/>
            </a:xfrm>
            <a:custGeom>
              <a:avLst/>
              <a:gdLst>
                <a:gd name="T0" fmla="*/ 5 w 22"/>
                <a:gd name="T1" fmla="*/ 11 h 34"/>
                <a:gd name="T2" fmla="*/ 3 w 22"/>
                <a:gd name="T3" fmla="*/ 27 h 34"/>
                <a:gd name="T4" fmla="*/ 5 w 22"/>
                <a:gd name="T5" fmla="*/ 11 h 34"/>
              </a:gdLst>
              <a:ahLst/>
              <a:cxnLst>
                <a:cxn ang="0">
                  <a:pos x="T0" y="T1"/>
                </a:cxn>
                <a:cxn ang="0">
                  <a:pos x="T2" y="T3"/>
                </a:cxn>
                <a:cxn ang="0">
                  <a:pos x="T4" y="T5"/>
                </a:cxn>
              </a:cxnLst>
              <a:rect l="0" t="0" r="r" b="b"/>
              <a:pathLst>
                <a:path w="22" h="34">
                  <a:moveTo>
                    <a:pt x="5" y="11"/>
                  </a:moveTo>
                  <a:cubicBezTo>
                    <a:pt x="1" y="14"/>
                    <a:pt x="0" y="22"/>
                    <a:pt x="3" y="27"/>
                  </a:cubicBezTo>
                  <a:cubicBezTo>
                    <a:pt x="22" y="34"/>
                    <a:pt x="18" y="0"/>
                    <a:pt x="5" y="1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3" name="Freeform 129"/>
            <p:cNvSpPr>
              <a:spLocks/>
            </p:cNvSpPr>
            <p:nvPr/>
          </p:nvSpPr>
          <p:spPr bwMode="auto">
            <a:xfrm>
              <a:off x="4130414" y="2799801"/>
              <a:ext cx="229596" cy="156539"/>
            </a:xfrm>
            <a:custGeom>
              <a:avLst/>
              <a:gdLst>
                <a:gd name="T0" fmla="*/ 64 w 67"/>
                <a:gd name="T1" fmla="*/ 14 h 44"/>
                <a:gd name="T2" fmla="*/ 57 w 67"/>
                <a:gd name="T3" fmla="*/ 11 h 44"/>
                <a:gd name="T4" fmla="*/ 58 w 67"/>
                <a:gd name="T5" fmla="*/ 7 h 44"/>
                <a:gd name="T6" fmla="*/ 50 w 67"/>
                <a:gd name="T7" fmla="*/ 0 h 44"/>
                <a:gd name="T8" fmla="*/ 46 w 67"/>
                <a:gd name="T9" fmla="*/ 0 h 44"/>
                <a:gd name="T10" fmla="*/ 45 w 67"/>
                <a:gd name="T11" fmla="*/ 7 h 44"/>
                <a:gd name="T12" fmla="*/ 37 w 67"/>
                <a:gd name="T13" fmla="*/ 6 h 44"/>
                <a:gd name="T14" fmla="*/ 38 w 67"/>
                <a:gd name="T15" fmla="*/ 10 h 44"/>
                <a:gd name="T16" fmla="*/ 32 w 67"/>
                <a:gd name="T17" fmla="*/ 5 h 44"/>
                <a:gd name="T18" fmla="*/ 29 w 67"/>
                <a:gd name="T19" fmla="*/ 11 h 44"/>
                <a:gd name="T20" fmla="*/ 26 w 67"/>
                <a:gd name="T21" fmla="*/ 5 h 44"/>
                <a:gd name="T22" fmla="*/ 24 w 67"/>
                <a:gd name="T23" fmla="*/ 13 h 44"/>
                <a:gd name="T24" fmla="*/ 19 w 67"/>
                <a:gd name="T25" fmla="*/ 17 h 44"/>
                <a:gd name="T26" fmla="*/ 10 w 67"/>
                <a:gd name="T27" fmla="*/ 1 h 44"/>
                <a:gd name="T28" fmla="*/ 10 w 67"/>
                <a:gd name="T29" fmla="*/ 7 h 44"/>
                <a:gd name="T30" fmla="*/ 5 w 67"/>
                <a:gd name="T31" fmla="*/ 5 h 44"/>
                <a:gd name="T32" fmla="*/ 6 w 67"/>
                <a:gd name="T33" fmla="*/ 11 h 44"/>
                <a:gd name="T34" fmla="*/ 1 w 67"/>
                <a:gd name="T35" fmla="*/ 12 h 44"/>
                <a:gd name="T36" fmla="*/ 3 w 67"/>
                <a:gd name="T37" fmla="*/ 17 h 44"/>
                <a:gd name="T38" fmla="*/ 15 w 67"/>
                <a:gd name="T39" fmla="*/ 18 h 44"/>
                <a:gd name="T40" fmla="*/ 15 w 67"/>
                <a:gd name="T41" fmla="*/ 21 h 44"/>
                <a:gd name="T42" fmla="*/ 4 w 67"/>
                <a:gd name="T43" fmla="*/ 27 h 44"/>
                <a:gd name="T44" fmla="*/ 12 w 67"/>
                <a:gd name="T45" fmla="*/ 26 h 44"/>
                <a:gd name="T46" fmla="*/ 17 w 67"/>
                <a:gd name="T47" fmla="*/ 31 h 44"/>
                <a:gd name="T48" fmla="*/ 11 w 67"/>
                <a:gd name="T49" fmla="*/ 37 h 44"/>
                <a:gd name="T50" fmla="*/ 35 w 67"/>
                <a:gd name="T51" fmla="*/ 44 h 44"/>
                <a:gd name="T52" fmla="*/ 57 w 67"/>
                <a:gd name="T53" fmla="*/ 32 h 44"/>
                <a:gd name="T54" fmla="*/ 64 w 67"/>
                <a:gd name="T55" fmla="*/ 1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7" h="44">
                  <a:moveTo>
                    <a:pt x="64" y="14"/>
                  </a:moveTo>
                  <a:cubicBezTo>
                    <a:pt x="62" y="13"/>
                    <a:pt x="57" y="14"/>
                    <a:pt x="57" y="11"/>
                  </a:cubicBezTo>
                  <a:cubicBezTo>
                    <a:pt x="58" y="10"/>
                    <a:pt x="58" y="9"/>
                    <a:pt x="58" y="7"/>
                  </a:cubicBezTo>
                  <a:cubicBezTo>
                    <a:pt x="55" y="5"/>
                    <a:pt x="51" y="4"/>
                    <a:pt x="50" y="0"/>
                  </a:cubicBezTo>
                  <a:cubicBezTo>
                    <a:pt x="49" y="0"/>
                    <a:pt x="48" y="0"/>
                    <a:pt x="46" y="0"/>
                  </a:cubicBezTo>
                  <a:cubicBezTo>
                    <a:pt x="46" y="3"/>
                    <a:pt x="47" y="6"/>
                    <a:pt x="45" y="7"/>
                  </a:cubicBezTo>
                  <a:cubicBezTo>
                    <a:pt x="41" y="7"/>
                    <a:pt x="40" y="6"/>
                    <a:pt x="37" y="6"/>
                  </a:cubicBezTo>
                  <a:cubicBezTo>
                    <a:pt x="37" y="8"/>
                    <a:pt x="39" y="8"/>
                    <a:pt x="38" y="10"/>
                  </a:cubicBezTo>
                  <a:cubicBezTo>
                    <a:pt x="35" y="9"/>
                    <a:pt x="36" y="5"/>
                    <a:pt x="32" y="5"/>
                  </a:cubicBezTo>
                  <a:cubicBezTo>
                    <a:pt x="30" y="6"/>
                    <a:pt x="30" y="9"/>
                    <a:pt x="29" y="11"/>
                  </a:cubicBezTo>
                  <a:cubicBezTo>
                    <a:pt x="28" y="9"/>
                    <a:pt x="27" y="6"/>
                    <a:pt x="26" y="5"/>
                  </a:cubicBezTo>
                  <a:cubicBezTo>
                    <a:pt x="24" y="6"/>
                    <a:pt x="24" y="10"/>
                    <a:pt x="24" y="13"/>
                  </a:cubicBezTo>
                  <a:cubicBezTo>
                    <a:pt x="22" y="14"/>
                    <a:pt x="21" y="16"/>
                    <a:pt x="19" y="17"/>
                  </a:cubicBezTo>
                  <a:cubicBezTo>
                    <a:pt x="18" y="11"/>
                    <a:pt x="20" y="1"/>
                    <a:pt x="10" y="1"/>
                  </a:cubicBezTo>
                  <a:cubicBezTo>
                    <a:pt x="7" y="3"/>
                    <a:pt x="12" y="6"/>
                    <a:pt x="10" y="7"/>
                  </a:cubicBezTo>
                  <a:cubicBezTo>
                    <a:pt x="8" y="7"/>
                    <a:pt x="7" y="3"/>
                    <a:pt x="5" y="5"/>
                  </a:cubicBezTo>
                  <a:cubicBezTo>
                    <a:pt x="3" y="7"/>
                    <a:pt x="5" y="9"/>
                    <a:pt x="6" y="11"/>
                  </a:cubicBezTo>
                  <a:cubicBezTo>
                    <a:pt x="3" y="10"/>
                    <a:pt x="3" y="12"/>
                    <a:pt x="1" y="12"/>
                  </a:cubicBezTo>
                  <a:cubicBezTo>
                    <a:pt x="0" y="14"/>
                    <a:pt x="2" y="15"/>
                    <a:pt x="3" y="17"/>
                  </a:cubicBezTo>
                  <a:cubicBezTo>
                    <a:pt x="7" y="17"/>
                    <a:pt x="13" y="12"/>
                    <a:pt x="15" y="18"/>
                  </a:cubicBezTo>
                  <a:cubicBezTo>
                    <a:pt x="15" y="19"/>
                    <a:pt x="15" y="20"/>
                    <a:pt x="15" y="21"/>
                  </a:cubicBezTo>
                  <a:cubicBezTo>
                    <a:pt x="12" y="23"/>
                    <a:pt x="3" y="20"/>
                    <a:pt x="4" y="27"/>
                  </a:cubicBezTo>
                  <a:cubicBezTo>
                    <a:pt x="7" y="28"/>
                    <a:pt x="9" y="26"/>
                    <a:pt x="12" y="26"/>
                  </a:cubicBezTo>
                  <a:cubicBezTo>
                    <a:pt x="13" y="28"/>
                    <a:pt x="15" y="30"/>
                    <a:pt x="17" y="31"/>
                  </a:cubicBezTo>
                  <a:cubicBezTo>
                    <a:pt x="15" y="33"/>
                    <a:pt x="11" y="33"/>
                    <a:pt x="11" y="37"/>
                  </a:cubicBezTo>
                  <a:cubicBezTo>
                    <a:pt x="22" y="37"/>
                    <a:pt x="25" y="43"/>
                    <a:pt x="35" y="44"/>
                  </a:cubicBezTo>
                  <a:cubicBezTo>
                    <a:pt x="42" y="39"/>
                    <a:pt x="49" y="35"/>
                    <a:pt x="57" y="32"/>
                  </a:cubicBezTo>
                  <a:cubicBezTo>
                    <a:pt x="59" y="26"/>
                    <a:pt x="67" y="23"/>
                    <a:pt x="64" y="14"/>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4" name="Freeform 130"/>
            <p:cNvSpPr>
              <a:spLocks/>
            </p:cNvSpPr>
            <p:nvPr/>
          </p:nvSpPr>
          <p:spPr bwMode="auto">
            <a:xfrm>
              <a:off x="2873443" y="2825389"/>
              <a:ext cx="151128" cy="141486"/>
            </a:xfrm>
            <a:custGeom>
              <a:avLst/>
              <a:gdLst>
                <a:gd name="T0" fmla="*/ 25 w 44"/>
                <a:gd name="T1" fmla="*/ 27 h 40"/>
                <a:gd name="T2" fmla="*/ 44 w 44"/>
                <a:gd name="T3" fmla="*/ 32 h 40"/>
                <a:gd name="T4" fmla="*/ 41 w 44"/>
                <a:gd name="T5" fmla="*/ 27 h 40"/>
                <a:gd name="T6" fmla="*/ 34 w 44"/>
                <a:gd name="T7" fmla="*/ 26 h 40"/>
                <a:gd name="T8" fmla="*/ 34 w 44"/>
                <a:gd name="T9" fmla="*/ 19 h 40"/>
                <a:gd name="T10" fmla="*/ 17 w 44"/>
                <a:gd name="T11" fmla="*/ 7 h 40"/>
                <a:gd name="T12" fmla="*/ 16 w 44"/>
                <a:gd name="T13" fmla="*/ 10 h 40"/>
                <a:gd name="T14" fmla="*/ 11 w 44"/>
                <a:gd name="T15" fmla="*/ 0 h 40"/>
                <a:gd name="T16" fmla="*/ 7 w 44"/>
                <a:gd name="T17" fmla="*/ 24 h 40"/>
                <a:gd name="T18" fmla="*/ 1 w 44"/>
                <a:gd name="T19" fmla="*/ 35 h 40"/>
                <a:gd name="T20" fmla="*/ 11 w 44"/>
                <a:gd name="T21" fmla="*/ 33 h 40"/>
                <a:gd name="T22" fmla="*/ 12 w 44"/>
                <a:gd name="T23" fmla="*/ 39 h 40"/>
                <a:gd name="T24" fmla="*/ 25 w 44"/>
                <a:gd name="T25" fmla="*/ 32 h 40"/>
                <a:gd name="T26" fmla="*/ 25 w 44"/>
                <a:gd name="T27" fmla="*/ 2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40">
                  <a:moveTo>
                    <a:pt x="25" y="27"/>
                  </a:moveTo>
                  <a:cubicBezTo>
                    <a:pt x="27" y="29"/>
                    <a:pt x="38" y="40"/>
                    <a:pt x="44" y="32"/>
                  </a:cubicBezTo>
                  <a:cubicBezTo>
                    <a:pt x="43" y="30"/>
                    <a:pt x="42" y="28"/>
                    <a:pt x="41" y="27"/>
                  </a:cubicBezTo>
                  <a:cubicBezTo>
                    <a:pt x="40" y="28"/>
                    <a:pt x="34" y="26"/>
                    <a:pt x="34" y="26"/>
                  </a:cubicBezTo>
                  <a:cubicBezTo>
                    <a:pt x="34" y="24"/>
                    <a:pt x="34" y="22"/>
                    <a:pt x="34" y="19"/>
                  </a:cubicBezTo>
                  <a:cubicBezTo>
                    <a:pt x="27" y="17"/>
                    <a:pt x="24" y="9"/>
                    <a:pt x="17" y="7"/>
                  </a:cubicBezTo>
                  <a:cubicBezTo>
                    <a:pt x="15" y="8"/>
                    <a:pt x="18" y="9"/>
                    <a:pt x="16" y="10"/>
                  </a:cubicBezTo>
                  <a:cubicBezTo>
                    <a:pt x="15" y="6"/>
                    <a:pt x="15" y="2"/>
                    <a:pt x="11" y="0"/>
                  </a:cubicBezTo>
                  <a:cubicBezTo>
                    <a:pt x="8" y="9"/>
                    <a:pt x="5" y="15"/>
                    <a:pt x="7" y="24"/>
                  </a:cubicBezTo>
                  <a:cubicBezTo>
                    <a:pt x="4" y="28"/>
                    <a:pt x="0" y="29"/>
                    <a:pt x="1" y="35"/>
                  </a:cubicBezTo>
                  <a:cubicBezTo>
                    <a:pt x="4" y="34"/>
                    <a:pt x="7" y="33"/>
                    <a:pt x="11" y="33"/>
                  </a:cubicBezTo>
                  <a:cubicBezTo>
                    <a:pt x="10" y="35"/>
                    <a:pt x="10" y="36"/>
                    <a:pt x="12" y="39"/>
                  </a:cubicBezTo>
                  <a:cubicBezTo>
                    <a:pt x="19" y="39"/>
                    <a:pt x="19" y="31"/>
                    <a:pt x="25" y="32"/>
                  </a:cubicBezTo>
                  <a:cubicBezTo>
                    <a:pt x="26" y="29"/>
                    <a:pt x="23" y="28"/>
                    <a:pt x="25" y="2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5" name="Freeform 131"/>
            <p:cNvSpPr>
              <a:spLocks/>
            </p:cNvSpPr>
            <p:nvPr/>
          </p:nvSpPr>
          <p:spPr bwMode="auto">
            <a:xfrm>
              <a:off x="1177623" y="2932257"/>
              <a:ext cx="72658" cy="34619"/>
            </a:xfrm>
            <a:custGeom>
              <a:avLst/>
              <a:gdLst>
                <a:gd name="T0" fmla="*/ 3 w 21"/>
                <a:gd name="T1" fmla="*/ 0 h 10"/>
                <a:gd name="T2" fmla="*/ 14 w 21"/>
                <a:gd name="T3" fmla="*/ 10 h 10"/>
                <a:gd name="T4" fmla="*/ 21 w 21"/>
                <a:gd name="T5" fmla="*/ 8 h 10"/>
                <a:gd name="T6" fmla="*/ 3 w 21"/>
                <a:gd name="T7" fmla="*/ 0 h 10"/>
              </a:gdLst>
              <a:ahLst/>
              <a:cxnLst>
                <a:cxn ang="0">
                  <a:pos x="T0" y="T1"/>
                </a:cxn>
                <a:cxn ang="0">
                  <a:pos x="T2" y="T3"/>
                </a:cxn>
                <a:cxn ang="0">
                  <a:pos x="T4" y="T5"/>
                </a:cxn>
                <a:cxn ang="0">
                  <a:pos x="T6" y="T7"/>
                </a:cxn>
              </a:cxnLst>
              <a:rect l="0" t="0" r="r" b="b"/>
              <a:pathLst>
                <a:path w="21" h="10">
                  <a:moveTo>
                    <a:pt x="3" y="0"/>
                  </a:moveTo>
                  <a:cubicBezTo>
                    <a:pt x="0" y="7"/>
                    <a:pt x="14" y="4"/>
                    <a:pt x="14" y="10"/>
                  </a:cubicBezTo>
                  <a:cubicBezTo>
                    <a:pt x="17" y="10"/>
                    <a:pt x="17" y="7"/>
                    <a:pt x="21" y="8"/>
                  </a:cubicBezTo>
                  <a:cubicBezTo>
                    <a:pt x="20" y="1"/>
                    <a:pt x="11" y="1"/>
                    <a:pt x="3"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6" name="Freeform 132"/>
            <p:cNvSpPr>
              <a:spLocks/>
            </p:cNvSpPr>
            <p:nvPr/>
          </p:nvSpPr>
          <p:spPr bwMode="auto">
            <a:xfrm>
              <a:off x="4490795" y="3149003"/>
              <a:ext cx="164206" cy="316087"/>
            </a:xfrm>
            <a:custGeom>
              <a:avLst/>
              <a:gdLst>
                <a:gd name="T0" fmla="*/ 6 w 48"/>
                <a:gd name="T1" fmla="*/ 26 h 89"/>
                <a:gd name="T2" fmla="*/ 5 w 48"/>
                <a:gd name="T3" fmla="*/ 37 h 89"/>
                <a:gd name="T4" fmla="*/ 7 w 48"/>
                <a:gd name="T5" fmla="*/ 31 h 89"/>
                <a:gd name="T6" fmla="*/ 6 w 48"/>
                <a:gd name="T7" fmla="*/ 43 h 89"/>
                <a:gd name="T8" fmla="*/ 16 w 48"/>
                <a:gd name="T9" fmla="*/ 43 h 89"/>
                <a:gd name="T10" fmla="*/ 19 w 48"/>
                <a:gd name="T11" fmla="*/ 50 h 89"/>
                <a:gd name="T12" fmla="*/ 19 w 48"/>
                <a:gd name="T13" fmla="*/ 56 h 89"/>
                <a:gd name="T14" fmla="*/ 9 w 48"/>
                <a:gd name="T15" fmla="*/ 62 h 89"/>
                <a:gd name="T16" fmla="*/ 12 w 48"/>
                <a:gd name="T17" fmla="*/ 64 h 89"/>
                <a:gd name="T18" fmla="*/ 6 w 48"/>
                <a:gd name="T19" fmla="*/ 71 h 89"/>
                <a:gd name="T20" fmla="*/ 15 w 48"/>
                <a:gd name="T21" fmla="*/ 75 h 89"/>
                <a:gd name="T22" fmla="*/ 1 w 48"/>
                <a:gd name="T23" fmla="*/ 87 h 89"/>
                <a:gd name="T24" fmla="*/ 7 w 48"/>
                <a:gd name="T25" fmla="*/ 89 h 89"/>
                <a:gd name="T26" fmla="*/ 16 w 48"/>
                <a:gd name="T27" fmla="*/ 87 h 89"/>
                <a:gd name="T28" fmla="*/ 19 w 48"/>
                <a:gd name="T29" fmla="*/ 83 h 89"/>
                <a:gd name="T30" fmla="*/ 46 w 48"/>
                <a:gd name="T31" fmla="*/ 74 h 89"/>
                <a:gd name="T32" fmla="*/ 43 w 48"/>
                <a:gd name="T33" fmla="*/ 73 h 89"/>
                <a:gd name="T34" fmla="*/ 48 w 48"/>
                <a:gd name="T35" fmla="*/ 69 h 89"/>
                <a:gd name="T36" fmla="*/ 48 w 48"/>
                <a:gd name="T37" fmla="*/ 62 h 89"/>
                <a:gd name="T38" fmla="*/ 40 w 48"/>
                <a:gd name="T39" fmla="*/ 59 h 89"/>
                <a:gd name="T40" fmla="*/ 29 w 48"/>
                <a:gd name="T41" fmla="*/ 35 h 89"/>
                <a:gd name="T42" fmla="*/ 21 w 48"/>
                <a:gd name="T43" fmla="*/ 26 h 89"/>
                <a:gd name="T44" fmla="*/ 27 w 48"/>
                <a:gd name="T45" fmla="*/ 14 h 89"/>
                <a:gd name="T46" fmla="*/ 14 w 48"/>
                <a:gd name="T47" fmla="*/ 12 h 89"/>
                <a:gd name="T48" fmla="*/ 20 w 48"/>
                <a:gd name="T49" fmla="*/ 3 h 89"/>
                <a:gd name="T50" fmla="*/ 8 w 48"/>
                <a:gd name="T51" fmla="*/ 1 h 89"/>
                <a:gd name="T52" fmla="*/ 2 w 48"/>
                <a:gd name="T53" fmla="*/ 12 h 89"/>
                <a:gd name="T54" fmla="*/ 1 w 48"/>
                <a:gd name="T55" fmla="*/ 26 h 89"/>
                <a:gd name="T56" fmla="*/ 6 w 48"/>
                <a:gd name="T57" fmla="*/ 26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8" h="89">
                  <a:moveTo>
                    <a:pt x="6" y="26"/>
                  </a:moveTo>
                  <a:cubicBezTo>
                    <a:pt x="4" y="28"/>
                    <a:pt x="0" y="36"/>
                    <a:pt x="5" y="37"/>
                  </a:cubicBezTo>
                  <a:cubicBezTo>
                    <a:pt x="7" y="37"/>
                    <a:pt x="5" y="32"/>
                    <a:pt x="7" y="31"/>
                  </a:cubicBezTo>
                  <a:cubicBezTo>
                    <a:pt x="10" y="36"/>
                    <a:pt x="7" y="38"/>
                    <a:pt x="6" y="43"/>
                  </a:cubicBezTo>
                  <a:cubicBezTo>
                    <a:pt x="9" y="45"/>
                    <a:pt x="15" y="42"/>
                    <a:pt x="16" y="43"/>
                  </a:cubicBezTo>
                  <a:cubicBezTo>
                    <a:pt x="14" y="46"/>
                    <a:pt x="17" y="49"/>
                    <a:pt x="19" y="50"/>
                  </a:cubicBezTo>
                  <a:cubicBezTo>
                    <a:pt x="19" y="54"/>
                    <a:pt x="18" y="54"/>
                    <a:pt x="19" y="56"/>
                  </a:cubicBezTo>
                  <a:cubicBezTo>
                    <a:pt x="14" y="56"/>
                    <a:pt x="10" y="58"/>
                    <a:pt x="9" y="62"/>
                  </a:cubicBezTo>
                  <a:cubicBezTo>
                    <a:pt x="10" y="62"/>
                    <a:pt x="12" y="62"/>
                    <a:pt x="12" y="64"/>
                  </a:cubicBezTo>
                  <a:cubicBezTo>
                    <a:pt x="12" y="69"/>
                    <a:pt x="5" y="66"/>
                    <a:pt x="6" y="71"/>
                  </a:cubicBezTo>
                  <a:cubicBezTo>
                    <a:pt x="6" y="75"/>
                    <a:pt x="14" y="72"/>
                    <a:pt x="15" y="75"/>
                  </a:cubicBezTo>
                  <a:cubicBezTo>
                    <a:pt x="8" y="76"/>
                    <a:pt x="8" y="85"/>
                    <a:pt x="1" y="87"/>
                  </a:cubicBezTo>
                  <a:cubicBezTo>
                    <a:pt x="3" y="88"/>
                    <a:pt x="6" y="88"/>
                    <a:pt x="7" y="89"/>
                  </a:cubicBezTo>
                  <a:cubicBezTo>
                    <a:pt x="8" y="85"/>
                    <a:pt x="13" y="85"/>
                    <a:pt x="16" y="87"/>
                  </a:cubicBezTo>
                  <a:cubicBezTo>
                    <a:pt x="17" y="86"/>
                    <a:pt x="18" y="84"/>
                    <a:pt x="19" y="83"/>
                  </a:cubicBezTo>
                  <a:cubicBezTo>
                    <a:pt x="27" y="81"/>
                    <a:pt x="43" y="86"/>
                    <a:pt x="46" y="74"/>
                  </a:cubicBezTo>
                  <a:cubicBezTo>
                    <a:pt x="44" y="73"/>
                    <a:pt x="43" y="75"/>
                    <a:pt x="43" y="73"/>
                  </a:cubicBezTo>
                  <a:cubicBezTo>
                    <a:pt x="44" y="71"/>
                    <a:pt x="46" y="70"/>
                    <a:pt x="48" y="69"/>
                  </a:cubicBezTo>
                  <a:cubicBezTo>
                    <a:pt x="48" y="66"/>
                    <a:pt x="48" y="64"/>
                    <a:pt x="48" y="62"/>
                  </a:cubicBezTo>
                  <a:cubicBezTo>
                    <a:pt x="46" y="61"/>
                    <a:pt x="44" y="59"/>
                    <a:pt x="40" y="59"/>
                  </a:cubicBezTo>
                  <a:cubicBezTo>
                    <a:pt x="38" y="49"/>
                    <a:pt x="30" y="46"/>
                    <a:pt x="29" y="35"/>
                  </a:cubicBezTo>
                  <a:cubicBezTo>
                    <a:pt x="25" y="32"/>
                    <a:pt x="22" y="29"/>
                    <a:pt x="21" y="26"/>
                  </a:cubicBezTo>
                  <a:cubicBezTo>
                    <a:pt x="25" y="24"/>
                    <a:pt x="25" y="18"/>
                    <a:pt x="27" y="14"/>
                  </a:cubicBezTo>
                  <a:cubicBezTo>
                    <a:pt x="24" y="11"/>
                    <a:pt x="16" y="12"/>
                    <a:pt x="14" y="12"/>
                  </a:cubicBezTo>
                  <a:cubicBezTo>
                    <a:pt x="15" y="7"/>
                    <a:pt x="21" y="8"/>
                    <a:pt x="20" y="3"/>
                  </a:cubicBezTo>
                  <a:cubicBezTo>
                    <a:pt x="16" y="0"/>
                    <a:pt x="11" y="4"/>
                    <a:pt x="8" y="1"/>
                  </a:cubicBezTo>
                  <a:cubicBezTo>
                    <a:pt x="5" y="6"/>
                    <a:pt x="6" y="9"/>
                    <a:pt x="2" y="12"/>
                  </a:cubicBezTo>
                  <a:cubicBezTo>
                    <a:pt x="5" y="15"/>
                    <a:pt x="2" y="21"/>
                    <a:pt x="1" y="26"/>
                  </a:cubicBezTo>
                  <a:cubicBezTo>
                    <a:pt x="3" y="28"/>
                    <a:pt x="5" y="24"/>
                    <a:pt x="6" y="26"/>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 name="Freeform 133"/>
            <p:cNvSpPr>
              <a:spLocks/>
            </p:cNvSpPr>
            <p:nvPr/>
          </p:nvSpPr>
          <p:spPr bwMode="auto">
            <a:xfrm>
              <a:off x="1892570" y="3159537"/>
              <a:ext cx="47955" cy="84290"/>
            </a:xfrm>
            <a:custGeom>
              <a:avLst/>
              <a:gdLst>
                <a:gd name="T0" fmla="*/ 0 w 14"/>
                <a:gd name="T1" fmla="*/ 5 h 24"/>
                <a:gd name="T2" fmla="*/ 12 w 14"/>
                <a:gd name="T3" fmla="*/ 24 h 24"/>
                <a:gd name="T4" fmla="*/ 10 w 14"/>
                <a:gd name="T5" fmla="*/ 4 h 24"/>
                <a:gd name="T6" fmla="*/ 0 w 14"/>
                <a:gd name="T7" fmla="*/ 5 h 24"/>
              </a:gdLst>
              <a:ahLst/>
              <a:cxnLst>
                <a:cxn ang="0">
                  <a:pos x="T0" y="T1"/>
                </a:cxn>
                <a:cxn ang="0">
                  <a:pos x="T2" y="T3"/>
                </a:cxn>
                <a:cxn ang="0">
                  <a:pos x="T4" y="T5"/>
                </a:cxn>
                <a:cxn ang="0">
                  <a:pos x="T6" y="T7"/>
                </a:cxn>
              </a:cxnLst>
              <a:rect l="0" t="0" r="r" b="b"/>
              <a:pathLst>
                <a:path w="14" h="24">
                  <a:moveTo>
                    <a:pt x="0" y="5"/>
                  </a:moveTo>
                  <a:cubicBezTo>
                    <a:pt x="5" y="11"/>
                    <a:pt x="7" y="18"/>
                    <a:pt x="12" y="24"/>
                  </a:cubicBezTo>
                  <a:cubicBezTo>
                    <a:pt x="14" y="17"/>
                    <a:pt x="10" y="11"/>
                    <a:pt x="10" y="4"/>
                  </a:cubicBezTo>
                  <a:cubicBezTo>
                    <a:pt x="7" y="3"/>
                    <a:pt x="2" y="0"/>
                    <a:pt x="0" y="5"/>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8" name="Freeform 134"/>
            <p:cNvSpPr>
              <a:spLocks/>
            </p:cNvSpPr>
            <p:nvPr/>
          </p:nvSpPr>
          <p:spPr bwMode="auto">
            <a:xfrm>
              <a:off x="1532189" y="3180609"/>
              <a:ext cx="53767" cy="42144"/>
            </a:xfrm>
            <a:custGeom>
              <a:avLst/>
              <a:gdLst>
                <a:gd name="T0" fmla="*/ 8 w 16"/>
                <a:gd name="T1" fmla="*/ 0 h 12"/>
                <a:gd name="T2" fmla="*/ 6 w 16"/>
                <a:gd name="T3" fmla="*/ 4 h 12"/>
                <a:gd name="T4" fmla="*/ 4 w 16"/>
                <a:gd name="T5" fmla="*/ 2 h 12"/>
                <a:gd name="T6" fmla="*/ 0 w 16"/>
                <a:gd name="T7" fmla="*/ 8 h 12"/>
                <a:gd name="T8" fmla="*/ 8 w 16"/>
                <a:gd name="T9" fmla="*/ 12 h 12"/>
                <a:gd name="T10" fmla="*/ 16 w 16"/>
                <a:gd name="T11" fmla="*/ 4 h 12"/>
                <a:gd name="T12" fmla="*/ 8 w 1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16" h="12">
                  <a:moveTo>
                    <a:pt x="8" y="0"/>
                  </a:moveTo>
                  <a:cubicBezTo>
                    <a:pt x="8" y="2"/>
                    <a:pt x="8" y="4"/>
                    <a:pt x="6" y="4"/>
                  </a:cubicBezTo>
                  <a:cubicBezTo>
                    <a:pt x="6" y="3"/>
                    <a:pt x="5" y="2"/>
                    <a:pt x="4" y="2"/>
                  </a:cubicBezTo>
                  <a:cubicBezTo>
                    <a:pt x="3" y="5"/>
                    <a:pt x="0" y="5"/>
                    <a:pt x="0" y="8"/>
                  </a:cubicBezTo>
                  <a:cubicBezTo>
                    <a:pt x="2" y="10"/>
                    <a:pt x="4" y="12"/>
                    <a:pt x="8" y="12"/>
                  </a:cubicBezTo>
                  <a:cubicBezTo>
                    <a:pt x="9" y="8"/>
                    <a:pt x="13" y="6"/>
                    <a:pt x="16" y="4"/>
                  </a:cubicBezTo>
                  <a:cubicBezTo>
                    <a:pt x="14" y="2"/>
                    <a:pt x="12" y="0"/>
                    <a:pt x="8"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9" name="Freeform 135"/>
            <p:cNvSpPr>
              <a:spLocks/>
            </p:cNvSpPr>
            <p:nvPr/>
          </p:nvSpPr>
          <p:spPr bwMode="auto">
            <a:xfrm>
              <a:off x="1953602" y="3240816"/>
              <a:ext cx="30517" cy="54186"/>
            </a:xfrm>
            <a:custGeom>
              <a:avLst/>
              <a:gdLst>
                <a:gd name="T0" fmla="*/ 9 w 9"/>
                <a:gd name="T1" fmla="*/ 15 h 15"/>
                <a:gd name="T2" fmla="*/ 0 w 9"/>
                <a:gd name="T3" fmla="*/ 0 h 15"/>
                <a:gd name="T4" fmla="*/ 9 w 9"/>
                <a:gd name="T5" fmla="*/ 15 h 15"/>
              </a:gdLst>
              <a:ahLst/>
              <a:cxnLst>
                <a:cxn ang="0">
                  <a:pos x="T0" y="T1"/>
                </a:cxn>
                <a:cxn ang="0">
                  <a:pos x="T2" y="T3"/>
                </a:cxn>
                <a:cxn ang="0">
                  <a:pos x="T4" y="T5"/>
                </a:cxn>
              </a:cxnLst>
              <a:rect l="0" t="0" r="r" b="b"/>
              <a:pathLst>
                <a:path w="9" h="15">
                  <a:moveTo>
                    <a:pt x="9" y="15"/>
                  </a:moveTo>
                  <a:cubicBezTo>
                    <a:pt x="8" y="8"/>
                    <a:pt x="7" y="1"/>
                    <a:pt x="0" y="0"/>
                  </a:cubicBezTo>
                  <a:cubicBezTo>
                    <a:pt x="0" y="8"/>
                    <a:pt x="4" y="15"/>
                    <a:pt x="9" y="15"/>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0" name="Freeform 136"/>
            <p:cNvSpPr>
              <a:spLocks/>
            </p:cNvSpPr>
            <p:nvPr/>
          </p:nvSpPr>
          <p:spPr bwMode="auto">
            <a:xfrm>
              <a:off x="4397793" y="3276941"/>
              <a:ext cx="113345" cy="138476"/>
            </a:xfrm>
            <a:custGeom>
              <a:avLst/>
              <a:gdLst>
                <a:gd name="T0" fmla="*/ 2 w 33"/>
                <a:gd name="T1" fmla="*/ 33 h 39"/>
                <a:gd name="T2" fmla="*/ 7 w 33"/>
                <a:gd name="T3" fmla="*/ 39 h 39"/>
                <a:gd name="T4" fmla="*/ 28 w 33"/>
                <a:gd name="T5" fmla="*/ 32 h 39"/>
                <a:gd name="T6" fmla="*/ 28 w 33"/>
                <a:gd name="T7" fmla="*/ 16 h 39"/>
                <a:gd name="T8" fmla="*/ 29 w 33"/>
                <a:gd name="T9" fmla="*/ 1 h 39"/>
                <a:gd name="T10" fmla="*/ 12 w 33"/>
                <a:gd name="T11" fmla="*/ 9 h 39"/>
                <a:gd name="T12" fmla="*/ 14 w 33"/>
                <a:gd name="T13" fmla="*/ 9 h 39"/>
                <a:gd name="T14" fmla="*/ 6 w 33"/>
                <a:gd name="T15" fmla="*/ 16 h 39"/>
                <a:gd name="T16" fmla="*/ 4 w 33"/>
                <a:gd name="T17" fmla="*/ 20 h 39"/>
                <a:gd name="T18" fmla="*/ 9 w 33"/>
                <a:gd name="T19" fmla="*/ 23 h 39"/>
                <a:gd name="T20" fmla="*/ 2 w 33"/>
                <a:gd name="T21" fmla="*/ 3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9">
                  <a:moveTo>
                    <a:pt x="2" y="33"/>
                  </a:moveTo>
                  <a:cubicBezTo>
                    <a:pt x="5" y="35"/>
                    <a:pt x="5" y="36"/>
                    <a:pt x="7" y="39"/>
                  </a:cubicBezTo>
                  <a:cubicBezTo>
                    <a:pt x="16" y="39"/>
                    <a:pt x="18" y="32"/>
                    <a:pt x="28" y="32"/>
                  </a:cubicBezTo>
                  <a:cubicBezTo>
                    <a:pt x="29" y="27"/>
                    <a:pt x="30" y="21"/>
                    <a:pt x="28" y="16"/>
                  </a:cubicBezTo>
                  <a:cubicBezTo>
                    <a:pt x="33" y="14"/>
                    <a:pt x="33" y="4"/>
                    <a:pt x="29" y="1"/>
                  </a:cubicBezTo>
                  <a:cubicBezTo>
                    <a:pt x="21" y="1"/>
                    <a:pt x="15" y="0"/>
                    <a:pt x="12" y="9"/>
                  </a:cubicBezTo>
                  <a:cubicBezTo>
                    <a:pt x="13" y="9"/>
                    <a:pt x="14" y="8"/>
                    <a:pt x="14" y="9"/>
                  </a:cubicBezTo>
                  <a:cubicBezTo>
                    <a:pt x="11" y="10"/>
                    <a:pt x="0" y="12"/>
                    <a:pt x="6" y="16"/>
                  </a:cubicBezTo>
                  <a:cubicBezTo>
                    <a:pt x="5" y="19"/>
                    <a:pt x="5" y="18"/>
                    <a:pt x="4" y="20"/>
                  </a:cubicBezTo>
                  <a:cubicBezTo>
                    <a:pt x="6" y="23"/>
                    <a:pt x="8" y="20"/>
                    <a:pt x="9" y="23"/>
                  </a:cubicBezTo>
                  <a:cubicBezTo>
                    <a:pt x="8" y="29"/>
                    <a:pt x="6" y="30"/>
                    <a:pt x="2" y="33"/>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1" name="Freeform 137"/>
            <p:cNvSpPr>
              <a:spLocks/>
            </p:cNvSpPr>
            <p:nvPr/>
          </p:nvSpPr>
          <p:spPr bwMode="auto">
            <a:xfrm>
              <a:off x="1960867" y="3319087"/>
              <a:ext cx="34875" cy="36124"/>
            </a:xfrm>
            <a:custGeom>
              <a:avLst/>
              <a:gdLst>
                <a:gd name="T0" fmla="*/ 5 w 10"/>
                <a:gd name="T1" fmla="*/ 10 h 10"/>
                <a:gd name="T2" fmla="*/ 10 w 10"/>
                <a:gd name="T3" fmla="*/ 2 h 10"/>
                <a:gd name="T4" fmla="*/ 1 w 10"/>
                <a:gd name="T5" fmla="*/ 0 h 10"/>
                <a:gd name="T6" fmla="*/ 5 w 10"/>
                <a:gd name="T7" fmla="*/ 10 h 10"/>
              </a:gdLst>
              <a:ahLst/>
              <a:cxnLst>
                <a:cxn ang="0">
                  <a:pos x="T0" y="T1"/>
                </a:cxn>
                <a:cxn ang="0">
                  <a:pos x="T2" y="T3"/>
                </a:cxn>
                <a:cxn ang="0">
                  <a:pos x="T4" y="T5"/>
                </a:cxn>
                <a:cxn ang="0">
                  <a:pos x="T6" y="T7"/>
                </a:cxn>
              </a:cxnLst>
              <a:rect l="0" t="0" r="r" b="b"/>
              <a:pathLst>
                <a:path w="10" h="10">
                  <a:moveTo>
                    <a:pt x="5" y="10"/>
                  </a:moveTo>
                  <a:cubicBezTo>
                    <a:pt x="8" y="9"/>
                    <a:pt x="8" y="5"/>
                    <a:pt x="10" y="2"/>
                  </a:cubicBezTo>
                  <a:cubicBezTo>
                    <a:pt x="8" y="1"/>
                    <a:pt x="4" y="0"/>
                    <a:pt x="1" y="0"/>
                  </a:cubicBezTo>
                  <a:cubicBezTo>
                    <a:pt x="0" y="5"/>
                    <a:pt x="1" y="9"/>
                    <a:pt x="5" y="1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2" name="Freeform 138"/>
            <p:cNvSpPr>
              <a:spLocks/>
            </p:cNvSpPr>
            <p:nvPr/>
          </p:nvSpPr>
          <p:spPr bwMode="auto">
            <a:xfrm>
              <a:off x="1280796" y="3322097"/>
              <a:ext cx="24704" cy="25589"/>
            </a:xfrm>
            <a:custGeom>
              <a:avLst/>
              <a:gdLst>
                <a:gd name="T0" fmla="*/ 1 w 7"/>
                <a:gd name="T1" fmla="*/ 1 h 7"/>
                <a:gd name="T2" fmla="*/ 2 w 7"/>
                <a:gd name="T3" fmla="*/ 6 h 7"/>
                <a:gd name="T4" fmla="*/ 7 w 7"/>
                <a:gd name="T5" fmla="*/ 1 h 7"/>
                <a:gd name="T6" fmla="*/ 1 w 7"/>
                <a:gd name="T7" fmla="*/ 1 h 7"/>
              </a:gdLst>
              <a:ahLst/>
              <a:cxnLst>
                <a:cxn ang="0">
                  <a:pos x="T0" y="T1"/>
                </a:cxn>
                <a:cxn ang="0">
                  <a:pos x="T2" y="T3"/>
                </a:cxn>
                <a:cxn ang="0">
                  <a:pos x="T4" y="T5"/>
                </a:cxn>
                <a:cxn ang="0">
                  <a:pos x="T6" y="T7"/>
                </a:cxn>
              </a:cxnLst>
              <a:rect l="0" t="0" r="r" b="b"/>
              <a:pathLst>
                <a:path w="7" h="7">
                  <a:moveTo>
                    <a:pt x="1" y="1"/>
                  </a:moveTo>
                  <a:cubicBezTo>
                    <a:pt x="0" y="3"/>
                    <a:pt x="2" y="3"/>
                    <a:pt x="2" y="6"/>
                  </a:cubicBezTo>
                  <a:cubicBezTo>
                    <a:pt x="5" y="7"/>
                    <a:pt x="6" y="4"/>
                    <a:pt x="7" y="1"/>
                  </a:cubicBezTo>
                  <a:cubicBezTo>
                    <a:pt x="4" y="0"/>
                    <a:pt x="4" y="0"/>
                    <a:pt x="1" y="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3" name="Freeform 139"/>
            <p:cNvSpPr>
              <a:spLocks/>
            </p:cNvSpPr>
            <p:nvPr/>
          </p:nvSpPr>
          <p:spPr bwMode="auto">
            <a:xfrm>
              <a:off x="1253187" y="3337148"/>
              <a:ext cx="20344" cy="21073"/>
            </a:xfrm>
            <a:custGeom>
              <a:avLst/>
              <a:gdLst>
                <a:gd name="T0" fmla="*/ 2 w 6"/>
                <a:gd name="T1" fmla="*/ 0 h 6"/>
                <a:gd name="T2" fmla="*/ 1 w 6"/>
                <a:gd name="T3" fmla="*/ 4 h 6"/>
                <a:gd name="T4" fmla="*/ 6 w 6"/>
                <a:gd name="T5" fmla="*/ 2 h 6"/>
                <a:gd name="T6" fmla="*/ 2 w 6"/>
                <a:gd name="T7" fmla="*/ 0 h 6"/>
              </a:gdLst>
              <a:ahLst/>
              <a:cxnLst>
                <a:cxn ang="0">
                  <a:pos x="T0" y="T1"/>
                </a:cxn>
                <a:cxn ang="0">
                  <a:pos x="T2" y="T3"/>
                </a:cxn>
                <a:cxn ang="0">
                  <a:pos x="T4" y="T5"/>
                </a:cxn>
                <a:cxn ang="0">
                  <a:pos x="T6" y="T7"/>
                </a:cxn>
              </a:cxnLst>
              <a:rect l="0" t="0" r="r" b="b"/>
              <a:pathLst>
                <a:path w="6" h="6">
                  <a:moveTo>
                    <a:pt x="2" y="0"/>
                  </a:moveTo>
                  <a:cubicBezTo>
                    <a:pt x="2" y="1"/>
                    <a:pt x="0" y="2"/>
                    <a:pt x="1" y="4"/>
                  </a:cubicBezTo>
                  <a:cubicBezTo>
                    <a:pt x="2" y="6"/>
                    <a:pt x="6" y="5"/>
                    <a:pt x="6" y="2"/>
                  </a:cubicBezTo>
                  <a:cubicBezTo>
                    <a:pt x="5" y="1"/>
                    <a:pt x="5" y="0"/>
                    <a:pt x="2"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4" name="Freeform 140"/>
            <p:cNvSpPr>
              <a:spLocks/>
            </p:cNvSpPr>
            <p:nvPr/>
          </p:nvSpPr>
          <p:spPr bwMode="auto">
            <a:xfrm>
              <a:off x="2053869" y="3428964"/>
              <a:ext cx="106080" cy="82785"/>
            </a:xfrm>
            <a:custGeom>
              <a:avLst/>
              <a:gdLst>
                <a:gd name="T0" fmla="*/ 31 w 31"/>
                <a:gd name="T1" fmla="*/ 22 h 23"/>
                <a:gd name="T2" fmla="*/ 22 w 31"/>
                <a:gd name="T3" fmla="*/ 13 h 23"/>
                <a:gd name="T4" fmla="*/ 0 w 31"/>
                <a:gd name="T5" fmla="*/ 0 h 23"/>
                <a:gd name="T6" fmla="*/ 11 w 31"/>
                <a:gd name="T7" fmla="*/ 10 h 23"/>
                <a:gd name="T8" fmla="*/ 15 w 31"/>
                <a:gd name="T9" fmla="*/ 18 h 23"/>
                <a:gd name="T10" fmla="*/ 31 w 31"/>
                <a:gd name="T11" fmla="*/ 22 h 23"/>
              </a:gdLst>
              <a:ahLst/>
              <a:cxnLst>
                <a:cxn ang="0">
                  <a:pos x="T0" y="T1"/>
                </a:cxn>
                <a:cxn ang="0">
                  <a:pos x="T2" y="T3"/>
                </a:cxn>
                <a:cxn ang="0">
                  <a:pos x="T4" y="T5"/>
                </a:cxn>
                <a:cxn ang="0">
                  <a:pos x="T6" y="T7"/>
                </a:cxn>
                <a:cxn ang="0">
                  <a:pos x="T8" y="T9"/>
                </a:cxn>
                <a:cxn ang="0">
                  <a:pos x="T10" y="T11"/>
                </a:cxn>
              </a:cxnLst>
              <a:rect l="0" t="0" r="r" b="b"/>
              <a:pathLst>
                <a:path w="31" h="23">
                  <a:moveTo>
                    <a:pt x="31" y="22"/>
                  </a:moveTo>
                  <a:cubicBezTo>
                    <a:pt x="31" y="16"/>
                    <a:pt x="27" y="14"/>
                    <a:pt x="22" y="13"/>
                  </a:cubicBezTo>
                  <a:cubicBezTo>
                    <a:pt x="20" y="4"/>
                    <a:pt x="8" y="0"/>
                    <a:pt x="0" y="0"/>
                  </a:cubicBezTo>
                  <a:cubicBezTo>
                    <a:pt x="2" y="6"/>
                    <a:pt x="7" y="10"/>
                    <a:pt x="11" y="10"/>
                  </a:cubicBezTo>
                  <a:cubicBezTo>
                    <a:pt x="9" y="16"/>
                    <a:pt x="17" y="12"/>
                    <a:pt x="15" y="18"/>
                  </a:cubicBezTo>
                  <a:cubicBezTo>
                    <a:pt x="20" y="18"/>
                    <a:pt x="22" y="23"/>
                    <a:pt x="31" y="22"/>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5" name="Freeform 141"/>
            <p:cNvSpPr>
              <a:spLocks/>
            </p:cNvSpPr>
            <p:nvPr/>
          </p:nvSpPr>
          <p:spPr bwMode="auto">
            <a:xfrm>
              <a:off x="7401444" y="3596040"/>
              <a:ext cx="117705" cy="124930"/>
            </a:xfrm>
            <a:custGeom>
              <a:avLst/>
              <a:gdLst>
                <a:gd name="T0" fmla="*/ 4 w 34"/>
                <a:gd name="T1" fmla="*/ 18 h 35"/>
                <a:gd name="T2" fmla="*/ 0 w 34"/>
                <a:gd name="T3" fmla="*/ 24 h 35"/>
                <a:gd name="T4" fmla="*/ 2 w 34"/>
                <a:gd name="T5" fmla="*/ 35 h 35"/>
                <a:gd name="T6" fmla="*/ 9 w 34"/>
                <a:gd name="T7" fmla="*/ 32 h 35"/>
                <a:gd name="T8" fmla="*/ 4 w 34"/>
                <a:gd name="T9" fmla="*/ 26 h 35"/>
                <a:gd name="T10" fmla="*/ 11 w 34"/>
                <a:gd name="T11" fmla="*/ 25 h 35"/>
                <a:gd name="T12" fmla="*/ 20 w 34"/>
                <a:gd name="T13" fmla="*/ 30 h 35"/>
                <a:gd name="T14" fmla="*/ 34 w 34"/>
                <a:gd name="T15" fmla="*/ 20 h 35"/>
                <a:gd name="T16" fmla="*/ 34 w 34"/>
                <a:gd name="T17" fmla="*/ 11 h 35"/>
                <a:gd name="T18" fmla="*/ 12 w 34"/>
                <a:gd name="T19" fmla="*/ 0 h 35"/>
                <a:gd name="T20" fmla="*/ 10 w 34"/>
                <a:gd name="T21" fmla="*/ 2 h 35"/>
                <a:gd name="T22" fmla="*/ 8 w 34"/>
                <a:gd name="T23" fmla="*/ 20 h 35"/>
                <a:gd name="T24" fmla="*/ 4 w 34"/>
                <a:gd name="T25" fmla="*/ 1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 h="35">
                  <a:moveTo>
                    <a:pt x="4" y="18"/>
                  </a:moveTo>
                  <a:cubicBezTo>
                    <a:pt x="4" y="21"/>
                    <a:pt x="4" y="23"/>
                    <a:pt x="0" y="24"/>
                  </a:cubicBezTo>
                  <a:cubicBezTo>
                    <a:pt x="0" y="29"/>
                    <a:pt x="2" y="31"/>
                    <a:pt x="2" y="35"/>
                  </a:cubicBezTo>
                  <a:cubicBezTo>
                    <a:pt x="6" y="34"/>
                    <a:pt x="5" y="31"/>
                    <a:pt x="9" y="32"/>
                  </a:cubicBezTo>
                  <a:cubicBezTo>
                    <a:pt x="9" y="28"/>
                    <a:pt x="4" y="29"/>
                    <a:pt x="4" y="26"/>
                  </a:cubicBezTo>
                  <a:cubicBezTo>
                    <a:pt x="7" y="26"/>
                    <a:pt x="8" y="28"/>
                    <a:pt x="11" y="25"/>
                  </a:cubicBezTo>
                  <a:cubicBezTo>
                    <a:pt x="15" y="26"/>
                    <a:pt x="16" y="29"/>
                    <a:pt x="20" y="30"/>
                  </a:cubicBezTo>
                  <a:cubicBezTo>
                    <a:pt x="22" y="22"/>
                    <a:pt x="28" y="23"/>
                    <a:pt x="34" y="20"/>
                  </a:cubicBezTo>
                  <a:cubicBezTo>
                    <a:pt x="32" y="16"/>
                    <a:pt x="30" y="14"/>
                    <a:pt x="34" y="11"/>
                  </a:cubicBezTo>
                  <a:cubicBezTo>
                    <a:pt x="23" y="18"/>
                    <a:pt x="17" y="6"/>
                    <a:pt x="12" y="0"/>
                  </a:cubicBezTo>
                  <a:cubicBezTo>
                    <a:pt x="12" y="1"/>
                    <a:pt x="10" y="1"/>
                    <a:pt x="10" y="2"/>
                  </a:cubicBezTo>
                  <a:cubicBezTo>
                    <a:pt x="12" y="9"/>
                    <a:pt x="11" y="14"/>
                    <a:pt x="8" y="20"/>
                  </a:cubicBezTo>
                  <a:cubicBezTo>
                    <a:pt x="6" y="20"/>
                    <a:pt x="6" y="16"/>
                    <a:pt x="4" y="18"/>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6" name="Freeform 142"/>
            <p:cNvSpPr>
              <a:spLocks/>
            </p:cNvSpPr>
            <p:nvPr/>
          </p:nvSpPr>
          <p:spPr bwMode="auto">
            <a:xfrm>
              <a:off x="4785782" y="3668286"/>
              <a:ext cx="30517" cy="52682"/>
            </a:xfrm>
            <a:custGeom>
              <a:avLst/>
              <a:gdLst>
                <a:gd name="T0" fmla="*/ 4 w 9"/>
                <a:gd name="T1" fmla="*/ 0 h 15"/>
                <a:gd name="T2" fmla="*/ 0 w 9"/>
                <a:gd name="T3" fmla="*/ 4 h 15"/>
                <a:gd name="T4" fmla="*/ 5 w 9"/>
                <a:gd name="T5" fmla="*/ 15 h 15"/>
                <a:gd name="T6" fmla="*/ 4 w 9"/>
                <a:gd name="T7" fmla="*/ 0 h 15"/>
              </a:gdLst>
              <a:ahLst/>
              <a:cxnLst>
                <a:cxn ang="0">
                  <a:pos x="T0" y="T1"/>
                </a:cxn>
                <a:cxn ang="0">
                  <a:pos x="T2" y="T3"/>
                </a:cxn>
                <a:cxn ang="0">
                  <a:pos x="T4" y="T5"/>
                </a:cxn>
                <a:cxn ang="0">
                  <a:pos x="T6" y="T7"/>
                </a:cxn>
              </a:cxnLst>
              <a:rect l="0" t="0" r="r" b="b"/>
              <a:pathLst>
                <a:path w="9" h="15">
                  <a:moveTo>
                    <a:pt x="4" y="0"/>
                  </a:moveTo>
                  <a:cubicBezTo>
                    <a:pt x="4" y="2"/>
                    <a:pt x="2" y="3"/>
                    <a:pt x="0" y="4"/>
                  </a:cubicBezTo>
                  <a:cubicBezTo>
                    <a:pt x="0" y="10"/>
                    <a:pt x="1" y="14"/>
                    <a:pt x="5" y="15"/>
                  </a:cubicBezTo>
                  <a:cubicBezTo>
                    <a:pt x="6" y="11"/>
                    <a:pt x="9" y="3"/>
                    <a:pt x="4"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7" name="Freeform 143"/>
            <p:cNvSpPr>
              <a:spLocks/>
            </p:cNvSpPr>
            <p:nvPr/>
          </p:nvSpPr>
          <p:spPr bwMode="auto">
            <a:xfrm>
              <a:off x="4775611" y="3717959"/>
              <a:ext cx="45049" cy="70743"/>
            </a:xfrm>
            <a:custGeom>
              <a:avLst/>
              <a:gdLst>
                <a:gd name="T0" fmla="*/ 1 w 13"/>
                <a:gd name="T1" fmla="*/ 17 h 20"/>
                <a:gd name="T2" fmla="*/ 6 w 13"/>
                <a:gd name="T3" fmla="*/ 20 h 20"/>
                <a:gd name="T4" fmla="*/ 10 w 13"/>
                <a:gd name="T5" fmla="*/ 18 h 20"/>
                <a:gd name="T6" fmla="*/ 12 w 13"/>
                <a:gd name="T7" fmla="*/ 6 h 20"/>
                <a:gd name="T8" fmla="*/ 0 w 13"/>
                <a:gd name="T9" fmla="*/ 4 h 20"/>
                <a:gd name="T10" fmla="*/ 1 w 13"/>
                <a:gd name="T11" fmla="*/ 17 h 20"/>
              </a:gdLst>
              <a:ahLst/>
              <a:cxnLst>
                <a:cxn ang="0">
                  <a:pos x="T0" y="T1"/>
                </a:cxn>
                <a:cxn ang="0">
                  <a:pos x="T2" y="T3"/>
                </a:cxn>
                <a:cxn ang="0">
                  <a:pos x="T4" y="T5"/>
                </a:cxn>
                <a:cxn ang="0">
                  <a:pos x="T6" y="T7"/>
                </a:cxn>
                <a:cxn ang="0">
                  <a:pos x="T8" y="T9"/>
                </a:cxn>
                <a:cxn ang="0">
                  <a:pos x="T10" y="T11"/>
                </a:cxn>
              </a:cxnLst>
              <a:rect l="0" t="0" r="r" b="b"/>
              <a:pathLst>
                <a:path w="13" h="20">
                  <a:moveTo>
                    <a:pt x="1" y="17"/>
                  </a:moveTo>
                  <a:cubicBezTo>
                    <a:pt x="4" y="17"/>
                    <a:pt x="3" y="20"/>
                    <a:pt x="6" y="20"/>
                  </a:cubicBezTo>
                  <a:cubicBezTo>
                    <a:pt x="6" y="17"/>
                    <a:pt x="7" y="17"/>
                    <a:pt x="10" y="18"/>
                  </a:cubicBezTo>
                  <a:cubicBezTo>
                    <a:pt x="13" y="13"/>
                    <a:pt x="8" y="10"/>
                    <a:pt x="12" y="6"/>
                  </a:cubicBezTo>
                  <a:cubicBezTo>
                    <a:pt x="9" y="0"/>
                    <a:pt x="5" y="3"/>
                    <a:pt x="0" y="4"/>
                  </a:cubicBezTo>
                  <a:cubicBezTo>
                    <a:pt x="3" y="7"/>
                    <a:pt x="1" y="13"/>
                    <a:pt x="1" y="1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8" name="Freeform 144"/>
            <p:cNvSpPr>
              <a:spLocks/>
            </p:cNvSpPr>
            <p:nvPr/>
          </p:nvSpPr>
          <p:spPr bwMode="auto">
            <a:xfrm>
              <a:off x="4861344" y="3785689"/>
              <a:ext cx="65392" cy="55692"/>
            </a:xfrm>
            <a:custGeom>
              <a:avLst/>
              <a:gdLst>
                <a:gd name="T0" fmla="*/ 18 w 19"/>
                <a:gd name="T1" fmla="*/ 5 h 16"/>
                <a:gd name="T2" fmla="*/ 0 w 19"/>
                <a:gd name="T3" fmla="*/ 8 h 16"/>
                <a:gd name="T4" fmla="*/ 17 w 19"/>
                <a:gd name="T5" fmla="*/ 16 h 16"/>
                <a:gd name="T6" fmla="*/ 18 w 19"/>
                <a:gd name="T7" fmla="*/ 5 h 16"/>
              </a:gdLst>
              <a:ahLst/>
              <a:cxnLst>
                <a:cxn ang="0">
                  <a:pos x="T0" y="T1"/>
                </a:cxn>
                <a:cxn ang="0">
                  <a:pos x="T2" y="T3"/>
                </a:cxn>
                <a:cxn ang="0">
                  <a:pos x="T4" y="T5"/>
                </a:cxn>
                <a:cxn ang="0">
                  <a:pos x="T6" y="T7"/>
                </a:cxn>
              </a:cxnLst>
              <a:rect l="0" t="0" r="r" b="b"/>
              <a:pathLst>
                <a:path w="19" h="16">
                  <a:moveTo>
                    <a:pt x="18" y="5"/>
                  </a:moveTo>
                  <a:cubicBezTo>
                    <a:pt x="12" y="6"/>
                    <a:pt x="2" y="0"/>
                    <a:pt x="0" y="8"/>
                  </a:cubicBezTo>
                  <a:cubicBezTo>
                    <a:pt x="5" y="12"/>
                    <a:pt x="10" y="15"/>
                    <a:pt x="17" y="16"/>
                  </a:cubicBezTo>
                  <a:cubicBezTo>
                    <a:pt x="19" y="13"/>
                    <a:pt x="18" y="9"/>
                    <a:pt x="18" y="5"/>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9" name="Freeform 145"/>
            <p:cNvSpPr>
              <a:spLocks/>
            </p:cNvSpPr>
            <p:nvPr/>
          </p:nvSpPr>
          <p:spPr bwMode="auto">
            <a:xfrm>
              <a:off x="5025552" y="3809772"/>
              <a:ext cx="62486" cy="42144"/>
            </a:xfrm>
            <a:custGeom>
              <a:avLst/>
              <a:gdLst>
                <a:gd name="T0" fmla="*/ 12 w 18"/>
                <a:gd name="T1" fmla="*/ 12 h 12"/>
                <a:gd name="T2" fmla="*/ 15 w 18"/>
                <a:gd name="T3" fmla="*/ 11 h 12"/>
                <a:gd name="T4" fmla="*/ 18 w 18"/>
                <a:gd name="T5" fmla="*/ 3 h 12"/>
                <a:gd name="T6" fmla="*/ 11 w 18"/>
                <a:gd name="T7" fmla="*/ 0 h 12"/>
                <a:gd name="T8" fmla="*/ 12 w 18"/>
                <a:gd name="T9" fmla="*/ 12 h 12"/>
              </a:gdLst>
              <a:ahLst/>
              <a:cxnLst>
                <a:cxn ang="0">
                  <a:pos x="T0" y="T1"/>
                </a:cxn>
                <a:cxn ang="0">
                  <a:pos x="T2" y="T3"/>
                </a:cxn>
                <a:cxn ang="0">
                  <a:pos x="T4" y="T5"/>
                </a:cxn>
                <a:cxn ang="0">
                  <a:pos x="T6" y="T7"/>
                </a:cxn>
                <a:cxn ang="0">
                  <a:pos x="T8" y="T9"/>
                </a:cxn>
              </a:cxnLst>
              <a:rect l="0" t="0" r="r" b="b"/>
              <a:pathLst>
                <a:path w="18" h="12">
                  <a:moveTo>
                    <a:pt x="12" y="12"/>
                  </a:moveTo>
                  <a:cubicBezTo>
                    <a:pt x="11" y="8"/>
                    <a:pt x="14" y="11"/>
                    <a:pt x="15" y="11"/>
                  </a:cubicBezTo>
                  <a:cubicBezTo>
                    <a:pt x="14" y="7"/>
                    <a:pt x="16" y="5"/>
                    <a:pt x="18" y="3"/>
                  </a:cubicBezTo>
                  <a:cubicBezTo>
                    <a:pt x="16" y="1"/>
                    <a:pt x="13" y="1"/>
                    <a:pt x="11" y="0"/>
                  </a:cubicBezTo>
                  <a:cubicBezTo>
                    <a:pt x="0" y="5"/>
                    <a:pt x="7" y="9"/>
                    <a:pt x="12" y="12"/>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0" name="Freeform 146"/>
            <p:cNvSpPr>
              <a:spLocks/>
            </p:cNvSpPr>
            <p:nvPr/>
          </p:nvSpPr>
          <p:spPr bwMode="auto">
            <a:xfrm>
              <a:off x="5080771" y="3859445"/>
              <a:ext cx="62486" cy="42144"/>
            </a:xfrm>
            <a:custGeom>
              <a:avLst/>
              <a:gdLst>
                <a:gd name="T0" fmla="*/ 0 w 18"/>
                <a:gd name="T1" fmla="*/ 5 h 12"/>
                <a:gd name="T2" fmla="*/ 18 w 18"/>
                <a:gd name="T3" fmla="*/ 4 h 12"/>
                <a:gd name="T4" fmla="*/ 1 w 18"/>
                <a:gd name="T5" fmla="*/ 0 h 12"/>
                <a:gd name="T6" fmla="*/ 0 w 18"/>
                <a:gd name="T7" fmla="*/ 5 h 12"/>
              </a:gdLst>
              <a:ahLst/>
              <a:cxnLst>
                <a:cxn ang="0">
                  <a:pos x="T0" y="T1"/>
                </a:cxn>
                <a:cxn ang="0">
                  <a:pos x="T2" y="T3"/>
                </a:cxn>
                <a:cxn ang="0">
                  <a:pos x="T4" y="T5"/>
                </a:cxn>
                <a:cxn ang="0">
                  <a:pos x="T6" y="T7"/>
                </a:cxn>
              </a:cxnLst>
              <a:rect l="0" t="0" r="r" b="b"/>
              <a:pathLst>
                <a:path w="18" h="12">
                  <a:moveTo>
                    <a:pt x="0" y="5"/>
                  </a:moveTo>
                  <a:cubicBezTo>
                    <a:pt x="5" y="7"/>
                    <a:pt x="17" y="12"/>
                    <a:pt x="18" y="4"/>
                  </a:cubicBezTo>
                  <a:cubicBezTo>
                    <a:pt x="11" y="4"/>
                    <a:pt x="5" y="2"/>
                    <a:pt x="1" y="0"/>
                  </a:cubicBezTo>
                  <a:cubicBezTo>
                    <a:pt x="1" y="2"/>
                    <a:pt x="0" y="3"/>
                    <a:pt x="0" y="5"/>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1" name="Freeform 147"/>
            <p:cNvSpPr>
              <a:spLocks/>
            </p:cNvSpPr>
            <p:nvPr/>
          </p:nvSpPr>
          <p:spPr bwMode="auto">
            <a:xfrm>
              <a:off x="5252242" y="3862456"/>
              <a:ext cx="59579" cy="36124"/>
            </a:xfrm>
            <a:custGeom>
              <a:avLst/>
              <a:gdLst>
                <a:gd name="T0" fmla="*/ 0 w 17"/>
                <a:gd name="T1" fmla="*/ 4 h 10"/>
                <a:gd name="T2" fmla="*/ 7 w 17"/>
                <a:gd name="T3" fmla="*/ 10 h 10"/>
                <a:gd name="T4" fmla="*/ 13 w 17"/>
                <a:gd name="T5" fmla="*/ 6 h 10"/>
                <a:gd name="T6" fmla="*/ 16 w 17"/>
                <a:gd name="T7" fmla="*/ 0 h 10"/>
                <a:gd name="T8" fmla="*/ 5 w 17"/>
                <a:gd name="T9" fmla="*/ 2 h 10"/>
                <a:gd name="T10" fmla="*/ 0 w 17"/>
                <a:gd name="T11" fmla="*/ 4 h 10"/>
              </a:gdLst>
              <a:ahLst/>
              <a:cxnLst>
                <a:cxn ang="0">
                  <a:pos x="T0" y="T1"/>
                </a:cxn>
                <a:cxn ang="0">
                  <a:pos x="T2" y="T3"/>
                </a:cxn>
                <a:cxn ang="0">
                  <a:pos x="T4" y="T5"/>
                </a:cxn>
                <a:cxn ang="0">
                  <a:pos x="T6" y="T7"/>
                </a:cxn>
                <a:cxn ang="0">
                  <a:pos x="T8" y="T9"/>
                </a:cxn>
                <a:cxn ang="0">
                  <a:pos x="T10" y="T11"/>
                </a:cxn>
              </a:cxnLst>
              <a:rect l="0" t="0" r="r" b="b"/>
              <a:pathLst>
                <a:path w="17" h="10">
                  <a:moveTo>
                    <a:pt x="0" y="4"/>
                  </a:moveTo>
                  <a:cubicBezTo>
                    <a:pt x="1" y="8"/>
                    <a:pt x="3" y="10"/>
                    <a:pt x="7" y="10"/>
                  </a:cubicBezTo>
                  <a:cubicBezTo>
                    <a:pt x="7" y="7"/>
                    <a:pt x="12" y="8"/>
                    <a:pt x="13" y="6"/>
                  </a:cubicBezTo>
                  <a:cubicBezTo>
                    <a:pt x="9" y="4"/>
                    <a:pt x="17" y="4"/>
                    <a:pt x="16" y="0"/>
                  </a:cubicBezTo>
                  <a:cubicBezTo>
                    <a:pt x="13" y="1"/>
                    <a:pt x="9" y="4"/>
                    <a:pt x="5" y="2"/>
                  </a:cubicBezTo>
                  <a:cubicBezTo>
                    <a:pt x="6" y="6"/>
                    <a:pt x="3" y="4"/>
                    <a:pt x="0" y="4"/>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2" name="Freeform 148"/>
            <p:cNvSpPr>
              <a:spLocks/>
            </p:cNvSpPr>
            <p:nvPr/>
          </p:nvSpPr>
          <p:spPr bwMode="auto">
            <a:xfrm>
              <a:off x="7247410" y="3895569"/>
              <a:ext cx="55220" cy="52682"/>
            </a:xfrm>
            <a:custGeom>
              <a:avLst/>
              <a:gdLst>
                <a:gd name="T0" fmla="*/ 5 w 16"/>
                <a:gd name="T1" fmla="*/ 14 h 15"/>
                <a:gd name="T2" fmla="*/ 13 w 16"/>
                <a:gd name="T3" fmla="*/ 10 h 15"/>
                <a:gd name="T4" fmla="*/ 16 w 16"/>
                <a:gd name="T5" fmla="*/ 4 h 15"/>
                <a:gd name="T6" fmla="*/ 0 w 16"/>
                <a:gd name="T7" fmla="*/ 9 h 15"/>
                <a:gd name="T8" fmla="*/ 5 w 16"/>
                <a:gd name="T9" fmla="*/ 14 h 15"/>
              </a:gdLst>
              <a:ahLst/>
              <a:cxnLst>
                <a:cxn ang="0">
                  <a:pos x="T0" y="T1"/>
                </a:cxn>
                <a:cxn ang="0">
                  <a:pos x="T2" y="T3"/>
                </a:cxn>
                <a:cxn ang="0">
                  <a:pos x="T4" y="T5"/>
                </a:cxn>
                <a:cxn ang="0">
                  <a:pos x="T6" y="T7"/>
                </a:cxn>
                <a:cxn ang="0">
                  <a:pos x="T8" y="T9"/>
                </a:cxn>
              </a:cxnLst>
              <a:rect l="0" t="0" r="r" b="b"/>
              <a:pathLst>
                <a:path w="16" h="15">
                  <a:moveTo>
                    <a:pt x="5" y="14"/>
                  </a:moveTo>
                  <a:cubicBezTo>
                    <a:pt x="7" y="11"/>
                    <a:pt x="8" y="7"/>
                    <a:pt x="13" y="10"/>
                  </a:cubicBezTo>
                  <a:cubicBezTo>
                    <a:pt x="14" y="8"/>
                    <a:pt x="15" y="7"/>
                    <a:pt x="16" y="4"/>
                  </a:cubicBezTo>
                  <a:cubicBezTo>
                    <a:pt x="12" y="0"/>
                    <a:pt x="4" y="5"/>
                    <a:pt x="0" y="9"/>
                  </a:cubicBezTo>
                  <a:cubicBezTo>
                    <a:pt x="3" y="10"/>
                    <a:pt x="1" y="15"/>
                    <a:pt x="5" y="14"/>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3" name="Freeform 149"/>
            <p:cNvSpPr>
              <a:spLocks/>
            </p:cNvSpPr>
            <p:nvPr/>
          </p:nvSpPr>
          <p:spPr bwMode="auto">
            <a:xfrm>
              <a:off x="5624248" y="4094251"/>
              <a:ext cx="26157" cy="42144"/>
            </a:xfrm>
            <a:custGeom>
              <a:avLst/>
              <a:gdLst>
                <a:gd name="T0" fmla="*/ 4 w 8"/>
                <a:gd name="T1" fmla="*/ 0 h 12"/>
                <a:gd name="T2" fmla="*/ 6 w 8"/>
                <a:gd name="T3" fmla="*/ 12 h 12"/>
                <a:gd name="T4" fmla="*/ 4 w 8"/>
                <a:gd name="T5" fmla="*/ 0 h 12"/>
              </a:gdLst>
              <a:ahLst/>
              <a:cxnLst>
                <a:cxn ang="0">
                  <a:pos x="T0" y="T1"/>
                </a:cxn>
                <a:cxn ang="0">
                  <a:pos x="T2" y="T3"/>
                </a:cxn>
                <a:cxn ang="0">
                  <a:pos x="T4" y="T5"/>
                </a:cxn>
              </a:cxnLst>
              <a:rect l="0" t="0" r="r" b="b"/>
              <a:pathLst>
                <a:path w="8" h="12">
                  <a:moveTo>
                    <a:pt x="4" y="0"/>
                  </a:moveTo>
                  <a:cubicBezTo>
                    <a:pt x="0" y="2"/>
                    <a:pt x="2" y="11"/>
                    <a:pt x="6" y="12"/>
                  </a:cubicBezTo>
                  <a:cubicBezTo>
                    <a:pt x="8" y="9"/>
                    <a:pt x="8" y="2"/>
                    <a:pt x="4"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4" name="Freeform 150"/>
            <p:cNvSpPr>
              <a:spLocks/>
            </p:cNvSpPr>
            <p:nvPr/>
          </p:nvSpPr>
          <p:spPr bwMode="auto">
            <a:xfrm>
              <a:off x="6985845" y="4101779"/>
              <a:ext cx="62486" cy="91816"/>
            </a:xfrm>
            <a:custGeom>
              <a:avLst/>
              <a:gdLst>
                <a:gd name="T0" fmla="*/ 10 w 18"/>
                <a:gd name="T1" fmla="*/ 26 h 26"/>
                <a:gd name="T2" fmla="*/ 18 w 18"/>
                <a:gd name="T3" fmla="*/ 6 h 26"/>
                <a:gd name="T4" fmla="*/ 10 w 18"/>
                <a:gd name="T5" fmla="*/ 26 h 26"/>
              </a:gdLst>
              <a:ahLst/>
              <a:cxnLst>
                <a:cxn ang="0">
                  <a:pos x="T0" y="T1"/>
                </a:cxn>
                <a:cxn ang="0">
                  <a:pos x="T2" y="T3"/>
                </a:cxn>
                <a:cxn ang="0">
                  <a:pos x="T4" y="T5"/>
                </a:cxn>
              </a:cxnLst>
              <a:rect l="0" t="0" r="r" b="b"/>
              <a:pathLst>
                <a:path w="18" h="26">
                  <a:moveTo>
                    <a:pt x="10" y="26"/>
                  </a:moveTo>
                  <a:cubicBezTo>
                    <a:pt x="14" y="20"/>
                    <a:pt x="15" y="12"/>
                    <a:pt x="18" y="6"/>
                  </a:cubicBezTo>
                  <a:cubicBezTo>
                    <a:pt x="9" y="0"/>
                    <a:pt x="0" y="21"/>
                    <a:pt x="10" y="26"/>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5" name="Freeform 151"/>
            <p:cNvSpPr>
              <a:spLocks/>
            </p:cNvSpPr>
            <p:nvPr/>
          </p:nvSpPr>
          <p:spPr bwMode="auto">
            <a:xfrm>
              <a:off x="2925757" y="4151448"/>
              <a:ext cx="216519" cy="91816"/>
            </a:xfrm>
            <a:custGeom>
              <a:avLst/>
              <a:gdLst>
                <a:gd name="T0" fmla="*/ 63 w 63"/>
                <a:gd name="T1" fmla="*/ 21 h 26"/>
                <a:gd name="T2" fmla="*/ 54 w 63"/>
                <a:gd name="T3" fmla="*/ 18 h 26"/>
                <a:gd name="T4" fmla="*/ 54 w 63"/>
                <a:gd name="T5" fmla="*/ 16 h 26"/>
                <a:gd name="T6" fmla="*/ 44 w 63"/>
                <a:gd name="T7" fmla="*/ 14 h 26"/>
                <a:gd name="T8" fmla="*/ 34 w 63"/>
                <a:gd name="T9" fmla="*/ 8 h 26"/>
                <a:gd name="T10" fmla="*/ 30 w 63"/>
                <a:gd name="T11" fmla="*/ 5 h 26"/>
                <a:gd name="T12" fmla="*/ 2 w 63"/>
                <a:gd name="T13" fmla="*/ 7 h 26"/>
                <a:gd name="T14" fmla="*/ 0 w 63"/>
                <a:gd name="T15" fmla="*/ 13 h 26"/>
                <a:gd name="T16" fmla="*/ 16 w 63"/>
                <a:gd name="T17" fmla="*/ 7 h 26"/>
                <a:gd name="T18" fmla="*/ 16 w 63"/>
                <a:gd name="T19" fmla="*/ 10 h 26"/>
                <a:gd name="T20" fmla="*/ 36 w 63"/>
                <a:gd name="T21" fmla="*/ 14 h 26"/>
                <a:gd name="T22" fmla="*/ 44 w 63"/>
                <a:gd name="T23" fmla="*/ 20 h 26"/>
                <a:gd name="T24" fmla="*/ 41 w 63"/>
                <a:gd name="T25" fmla="*/ 25 h 26"/>
                <a:gd name="T26" fmla="*/ 63 w 63"/>
                <a:gd name="T27" fmla="*/ 2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26">
                  <a:moveTo>
                    <a:pt x="63" y="21"/>
                  </a:moveTo>
                  <a:cubicBezTo>
                    <a:pt x="60" y="19"/>
                    <a:pt x="60" y="18"/>
                    <a:pt x="54" y="18"/>
                  </a:cubicBezTo>
                  <a:cubicBezTo>
                    <a:pt x="55" y="17"/>
                    <a:pt x="55" y="17"/>
                    <a:pt x="54" y="16"/>
                  </a:cubicBezTo>
                  <a:cubicBezTo>
                    <a:pt x="50" y="16"/>
                    <a:pt x="49" y="13"/>
                    <a:pt x="44" y="14"/>
                  </a:cubicBezTo>
                  <a:cubicBezTo>
                    <a:pt x="44" y="8"/>
                    <a:pt x="38" y="10"/>
                    <a:pt x="34" y="8"/>
                  </a:cubicBezTo>
                  <a:cubicBezTo>
                    <a:pt x="32" y="8"/>
                    <a:pt x="32" y="6"/>
                    <a:pt x="30" y="5"/>
                  </a:cubicBezTo>
                  <a:cubicBezTo>
                    <a:pt x="21" y="0"/>
                    <a:pt x="9" y="5"/>
                    <a:pt x="2" y="7"/>
                  </a:cubicBezTo>
                  <a:cubicBezTo>
                    <a:pt x="3" y="11"/>
                    <a:pt x="0" y="10"/>
                    <a:pt x="0" y="13"/>
                  </a:cubicBezTo>
                  <a:cubicBezTo>
                    <a:pt x="8" y="13"/>
                    <a:pt x="9" y="7"/>
                    <a:pt x="16" y="7"/>
                  </a:cubicBezTo>
                  <a:cubicBezTo>
                    <a:pt x="16" y="8"/>
                    <a:pt x="15" y="9"/>
                    <a:pt x="16" y="10"/>
                  </a:cubicBezTo>
                  <a:cubicBezTo>
                    <a:pt x="24" y="10"/>
                    <a:pt x="28" y="14"/>
                    <a:pt x="36" y="14"/>
                  </a:cubicBezTo>
                  <a:cubicBezTo>
                    <a:pt x="35" y="19"/>
                    <a:pt x="41" y="21"/>
                    <a:pt x="44" y="20"/>
                  </a:cubicBezTo>
                  <a:cubicBezTo>
                    <a:pt x="44" y="22"/>
                    <a:pt x="41" y="22"/>
                    <a:pt x="41" y="25"/>
                  </a:cubicBezTo>
                  <a:cubicBezTo>
                    <a:pt x="50" y="23"/>
                    <a:pt x="58" y="26"/>
                    <a:pt x="63" y="2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6" name="Freeform 152"/>
            <p:cNvSpPr>
              <a:spLocks/>
            </p:cNvSpPr>
            <p:nvPr/>
          </p:nvSpPr>
          <p:spPr bwMode="auto">
            <a:xfrm>
              <a:off x="1452266" y="4190583"/>
              <a:ext cx="24704" cy="24083"/>
            </a:xfrm>
            <a:custGeom>
              <a:avLst/>
              <a:gdLst>
                <a:gd name="T0" fmla="*/ 4 w 7"/>
                <a:gd name="T1" fmla="*/ 1 h 7"/>
                <a:gd name="T2" fmla="*/ 0 w 7"/>
                <a:gd name="T3" fmla="*/ 1 h 7"/>
                <a:gd name="T4" fmla="*/ 6 w 7"/>
                <a:gd name="T5" fmla="*/ 5 h 7"/>
                <a:gd name="T6" fmla="*/ 4 w 7"/>
                <a:gd name="T7" fmla="*/ 1 h 7"/>
              </a:gdLst>
              <a:ahLst/>
              <a:cxnLst>
                <a:cxn ang="0">
                  <a:pos x="T0" y="T1"/>
                </a:cxn>
                <a:cxn ang="0">
                  <a:pos x="T2" y="T3"/>
                </a:cxn>
                <a:cxn ang="0">
                  <a:pos x="T4" y="T5"/>
                </a:cxn>
                <a:cxn ang="0">
                  <a:pos x="T6" y="T7"/>
                </a:cxn>
              </a:cxnLst>
              <a:rect l="0" t="0" r="r" b="b"/>
              <a:pathLst>
                <a:path w="7" h="7">
                  <a:moveTo>
                    <a:pt x="4" y="1"/>
                  </a:moveTo>
                  <a:cubicBezTo>
                    <a:pt x="2" y="0"/>
                    <a:pt x="3" y="2"/>
                    <a:pt x="0" y="1"/>
                  </a:cubicBezTo>
                  <a:cubicBezTo>
                    <a:pt x="0" y="4"/>
                    <a:pt x="3" y="7"/>
                    <a:pt x="6" y="5"/>
                  </a:cubicBezTo>
                  <a:cubicBezTo>
                    <a:pt x="7" y="2"/>
                    <a:pt x="4" y="3"/>
                    <a:pt x="4" y="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7" name="Freeform 153"/>
            <p:cNvSpPr>
              <a:spLocks/>
            </p:cNvSpPr>
            <p:nvPr/>
          </p:nvSpPr>
          <p:spPr bwMode="auto">
            <a:xfrm>
              <a:off x="1487141" y="4208644"/>
              <a:ext cx="23251" cy="24083"/>
            </a:xfrm>
            <a:custGeom>
              <a:avLst/>
              <a:gdLst>
                <a:gd name="T0" fmla="*/ 7 w 7"/>
                <a:gd name="T1" fmla="*/ 2 h 7"/>
                <a:gd name="T2" fmla="*/ 1 w 7"/>
                <a:gd name="T3" fmla="*/ 0 h 7"/>
                <a:gd name="T4" fmla="*/ 7 w 7"/>
                <a:gd name="T5" fmla="*/ 2 h 7"/>
              </a:gdLst>
              <a:ahLst/>
              <a:cxnLst>
                <a:cxn ang="0">
                  <a:pos x="T0" y="T1"/>
                </a:cxn>
                <a:cxn ang="0">
                  <a:pos x="T2" y="T3"/>
                </a:cxn>
                <a:cxn ang="0">
                  <a:pos x="T4" y="T5"/>
                </a:cxn>
              </a:cxnLst>
              <a:rect l="0" t="0" r="r" b="b"/>
              <a:pathLst>
                <a:path w="7" h="7">
                  <a:moveTo>
                    <a:pt x="7" y="2"/>
                  </a:moveTo>
                  <a:cubicBezTo>
                    <a:pt x="6" y="0"/>
                    <a:pt x="3" y="0"/>
                    <a:pt x="1" y="0"/>
                  </a:cubicBezTo>
                  <a:cubicBezTo>
                    <a:pt x="0" y="3"/>
                    <a:pt x="6" y="7"/>
                    <a:pt x="7" y="2"/>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8" name="Freeform 154"/>
            <p:cNvSpPr>
              <a:spLocks/>
            </p:cNvSpPr>
            <p:nvPr/>
          </p:nvSpPr>
          <p:spPr bwMode="auto">
            <a:xfrm>
              <a:off x="1500220" y="4222192"/>
              <a:ext cx="34875" cy="39134"/>
            </a:xfrm>
            <a:custGeom>
              <a:avLst/>
              <a:gdLst>
                <a:gd name="T0" fmla="*/ 2 w 10"/>
                <a:gd name="T1" fmla="*/ 1 h 11"/>
                <a:gd name="T2" fmla="*/ 3 w 10"/>
                <a:gd name="T3" fmla="*/ 11 h 11"/>
                <a:gd name="T4" fmla="*/ 10 w 10"/>
                <a:gd name="T5" fmla="*/ 6 h 11"/>
                <a:gd name="T6" fmla="*/ 2 w 10"/>
                <a:gd name="T7" fmla="*/ 1 h 11"/>
              </a:gdLst>
              <a:ahLst/>
              <a:cxnLst>
                <a:cxn ang="0">
                  <a:pos x="T0" y="T1"/>
                </a:cxn>
                <a:cxn ang="0">
                  <a:pos x="T2" y="T3"/>
                </a:cxn>
                <a:cxn ang="0">
                  <a:pos x="T4" y="T5"/>
                </a:cxn>
                <a:cxn ang="0">
                  <a:pos x="T6" y="T7"/>
                </a:cxn>
              </a:cxnLst>
              <a:rect l="0" t="0" r="r" b="b"/>
              <a:pathLst>
                <a:path w="10" h="11">
                  <a:moveTo>
                    <a:pt x="2" y="1"/>
                  </a:moveTo>
                  <a:cubicBezTo>
                    <a:pt x="0" y="5"/>
                    <a:pt x="1" y="6"/>
                    <a:pt x="3" y="11"/>
                  </a:cubicBezTo>
                  <a:cubicBezTo>
                    <a:pt x="6" y="9"/>
                    <a:pt x="9" y="8"/>
                    <a:pt x="10" y="6"/>
                  </a:cubicBezTo>
                  <a:cubicBezTo>
                    <a:pt x="7" y="4"/>
                    <a:pt x="7" y="0"/>
                    <a:pt x="2" y="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9" name="Freeform 155"/>
            <p:cNvSpPr>
              <a:spLocks/>
            </p:cNvSpPr>
            <p:nvPr/>
          </p:nvSpPr>
          <p:spPr bwMode="auto">
            <a:xfrm>
              <a:off x="3130649" y="4229718"/>
              <a:ext cx="127877" cy="63217"/>
            </a:xfrm>
            <a:custGeom>
              <a:avLst/>
              <a:gdLst>
                <a:gd name="T0" fmla="*/ 36 w 37"/>
                <a:gd name="T1" fmla="*/ 9 h 18"/>
                <a:gd name="T2" fmla="*/ 6 w 37"/>
                <a:gd name="T3" fmla="*/ 1 h 18"/>
                <a:gd name="T4" fmla="*/ 6 w 37"/>
                <a:gd name="T5" fmla="*/ 4 h 18"/>
                <a:gd name="T6" fmla="*/ 10 w 37"/>
                <a:gd name="T7" fmla="*/ 5 h 18"/>
                <a:gd name="T8" fmla="*/ 12 w 37"/>
                <a:gd name="T9" fmla="*/ 9 h 18"/>
                <a:gd name="T10" fmla="*/ 0 w 37"/>
                <a:gd name="T11" fmla="*/ 9 h 18"/>
                <a:gd name="T12" fmla="*/ 18 w 37"/>
                <a:gd name="T13" fmla="*/ 16 h 18"/>
                <a:gd name="T14" fmla="*/ 22 w 37"/>
                <a:gd name="T15" fmla="*/ 11 h 18"/>
                <a:gd name="T16" fmla="*/ 35 w 37"/>
                <a:gd name="T17" fmla="*/ 13 h 18"/>
                <a:gd name="T18" fmla="*/ 36 w 37"/>
                <a:gd name="T19" fmla="*/ 9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18">
                  <a:moveTo>
                    <a:pt x="36" y="9"/>
                  </a:moveTo>
                  <a:cubicBezTo>
                    <a:pt x="28" y="3"/>
                    <a:pt x="19" y="0"/>
                    <a:pt x="6" y="1"/>
                  </a:cubicBezTo>
                  <a:cubicBezTo>
                    <a:pt x="6" y="2"/>
                    <a:pt x="6" y="3"/>
                    <a:pt x="6" y="4"/>
                  </a:cubicBezTo>
                  <a:cubicBezTo>
                    <a:pt x="7" y="5"/>
                    <a:pt x="10" y="3"/>
                    <a:pt x="10" y="5"/>
                  </a:cubicBezTo>
                  <a:cubicBezTo>
                    <a:pt x="9" y="8"/>
                    <a:pt x="11" y="8"/>
                    <a:pt x="12" y="9"/>
                  </a:cubicBezTo>
                  <a:cubicBezTo>
                    <a:pt x="9" y="12"/>
                    <a:pt x="3" y="7"/>
                    <a:pt x="0" y="9"/>
                  </a:cubicBezTo>
                  <a:cubicBezTo>
                    <a:pt x="2" y="18"/>
                    <a:pt x="15" y="9"/>
                    <a:pt x="18" y="16"/>
                  </a:cubicBezTo>
                  <a:cubicBezTo>
                    <a:pt x="21" y="15"/>
                    <a:pt x="20" y="11"/>
                    <a:pt x="22" y="11"/>
                  </a:cubicBezTo>
                  <a:cubicBezTo>
                    <a:pt x="24" y="15"/>
                    <a:pt x="32" y="8"/>
                    <a:pt x="35" y="13"/>
                  </a:cubicBezTo>
                  <a:cubicBezTo>
                    <a:pt x="35" y="12"/>
                    <a:pt x="37" y="11"/>
                    <a:pt x="36" y="9"/>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0" name="Freeform 156"/>
            <p:cNvSpPr>
              <a:spLocks/>
            </p:cNvSpPr>
            <p:nvPr/>
          </p:nvSpPr>
          <p:spPr bwMode="auto">
            <a:xfrm>
              <a:off x="6776591" y="4229718"/>
              <a:ext cx="52313" cy="46662"/>
            </a:xfrm>
            <a:custGeom>
              <a:avLst/>
              <a:gdLst>
                <a:gd name="T0" fmla="*/ 1 w 15"/>
                <a:gd name="T1" fmla="*/ 11 h 13"/>
                <a:gd name="T2" fmla="*/ 6 w 15"/>
                <a:gd name="T3" fmla="*/ 13 h 13"/>
                <a:gd name="T4" fmla="*/ 15 w 15"/>
                <a:gd name="T5" fmla="*/ 2 h 13"/>
                <a:gd name="T6" fmla="*/ 1 w 15"/>
                <a:gd name="T7" fmla="*/ 11 h 13"/>
              </a:gdLst>
              <a:ahLst/>
              <a:cxnLst>
                <a:cxn ang="0">
                  <a:pos x="T0" y="T1"/>
                </a:cxn>
                <a:cxn ang="0">
                  <a:pos x="T2" y="T3"/>
                </a:cxn>
                <a:cxn ang="0">
                  <a:pos x="T4" y="T5"/>
                </a:cxn>
                <a:cxn ang="0">
                  <a:pos x="T6" y="T7"/>
                </a:cxn>
              </a:cxnLst>
              <a:rect l="0" t="0" r="r" b="b"/>
              <a:pathLst>
                <a:path w="15" h="13">
                  <a:moveTo>
                    <a:pt x="1" y="11"/>
                  </a:moveTo>
                  <a:cubicBezTo>
                    <a:pt x="3" y="11"/>
                    <a:pt x="4" y="13"/>
                    <a:pt x="6" y="13"/>
                  </a:cubicBezTo>
                  <a:cubicBezTo>
                    <a:pt x="10" y="11"/>
                    <a:pt x="14" y="8"/>
                    <a:pt x="15" y="2"/>
                  </a:cubicBezTo>
                  <a:cubicBezTo>
                    <a:pt x="8" y="0"/>
                    <a:pt x="0" y="2"/>
                    <a:pt x="1" y="1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1" name="Freeform 157"/>
            <p:cNvSpPr>
              <a:spLocks/>
            </p:cNvSpPr>
            <p:nvPr/>
          </p:nvSpPr>
          <p:spPr bwMode="auto">
            <a:xfrm>
              <a:off x="3275963" y="4261326"/>
              <a:ext cx="33423" cy="21073"/>
            </a:xfrm>
            <a:custGeom>
              <a:avLst/>
              <a:gdLst>
                <a:gd name="T0" fmla="*/ 1 w 10"/>
                <a:gd name="T1" fmla="*/ 5 h 6"/>
                <a:gd name="T2" fmla="*/ 10 w 10"/>
                <a:gd name="T3" fmla="*/ 2 h 6"/>
                <a:gd name="T4" fmla="*/ 1 w 10"/>
                <a:gd name="T5" fmla="*/ 0 h 6"/>
                <a:gd name="T6" fmla="*/ 1 w 10"/>
                <a:gd name="T7" fmla="*/ 5 h 6"/>
              </a:gdLst>
              <a:ahLst/>
              <a:cxnLst>
                <a:cxn ang="0">
                  <a:pos x="T0" y="T1"/>
                </a:cxn>
                <a:cxn ang="0">
                  <a:pos x="T2" y="T3"/>
                </a:cxn>
                <a:cxn ang="0">
                  <a:pos x="T4" y="T5"/>
                </a:cxn>
                <a:cxn ang="0">
                  <a:pos x="T6" y="T7"/>
                </a:cxn>
              </a:cxnLst>
              <a:rect l="0" t="0" r="r" b="b"/>
              <a:pathLst>
                <a:path w="10" h="6">
                  <a:moveTo>
                    <a:pt x="1" y="5"/>
                  </a:moveTo>
                  <a:cubicBezTo>
                    <a:pt x="5" y="5"/>
                    <a:pt x="9" y="6"/>
                    <a:pt x="10" y="2"/>
                  </a:cubicBezTo>
                  <a:cubicBezTo>
                    <a:pt x="8" y="0"/>
                    <a:pt x="3" y="2"/>
                    <a:pt x="1" y="0"/>
                  </a:cubicBezTo>
                  <a:cubicBezTo>
                    <a:pt x="0" y="1"/>
                    <a:pt x="0" y="4"/>
                    <a:pt x="1" y="5"/>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2" name="Freeform 158"/>
            <p:cNvSpPr>
              <a:spLocks/>
            </p:cNvSpPr>
            <p:nvPr/>
          </p:nvSpPr>
          <p:spPr bwMode="auto">
            <a:xfrm>
              <a:off x="7000375" y="4261326"/>
              <a:ext cx="88642" cy="142992"/>
            </a:xfrm>
            <a:custGeom>
              <a:avLst/>
              <a:gdLst>
                <a:gd name="T0" fmla="*/ 0 w 26"/>
                <a:gd name="T1" fmla="*/ 14 h 40"/>
                <a:gd name="T2" fmla="*/ 3 w 26"/>
                <a:gd name="T3" fmla="*/ 26 h 40"/>
                <a:gd name="T4" fmla="*/ 6 w 26"/>
                <a:gd name="T5" fmla="*/ 26 h 40"/>
                <a:gd name="T6" fmla="*/ 8 w 26"/>
                <a:gd name="T7" fmla="*/ 32 h 40"/>
                <a:gd name="T8" fmla="*/ 4 w 26"/>
                <a:gd name="T9" fmla="*/ 32 h 40"/>
                <a:gd name="T10" fmla="*/ 9 w 26"/>
                <a:gd name="T11" fmla="*/ 40 h 40"/>
                <a:gd name="T12" fmla="*/ 9 w 26"/>
                <a:gd name="T13" fmla="*/ 31 h 40"/>
                <a:gd name="T14" fmla="*/ 17 w 26"/>
                <a:gd name="T15" fmla="*/ 33 h 40"/>
                <a:gd name="T16" fmla="*/ 18 w 26"/>
                <a:gd name="T17" fmla="*/ 30 h 40"/>
                <a:gd name="T18" fmla="*/ 25 w 26"/>
                <a:gd name="T19" fmla="*/ 36 h 40"/>
                <a:gd name="T20" fmla="*/ 25 w 26"/>
                <a:gd name="T21" fmla="*/ 29 h 40"/>
                <a:gd name="T22" fmla="*/ 20 w 26"/>
                <a:gd name="T23" fmla="*/ 30 h 40"/>
                <a:gd name="T24" fmla="*/ 16 w 26"/>
                <a:gd name="T25" fmla="*/ 26 h 40"/>
                <a:gd name="T26" fmla="*/ 13 w 26"/>
                <a:gd name="T27" fmla="*/ 28 h 40"/>
                <a:gd name="T28" fmla="*/ 11 w 26"/>
                <a:gd name="T29" fmla="*/ 18 h 40"/>
                <a:gd name="T30" fmla="*/ 16 w 26"/>
                <a:gd name="T31" fmla="*/ 2 h 40"/>
                <a:gd name="T32" fmla="*/ 6 w 26"/>
                <a:gd name="T33" fmla="*/ 0 h 40"/>
                <a:gd name="T34" fmla="*/ 3 w 26"/>
                <a:gd name="T35" fmla="*/ 15 h 40"/>
                <a:gd name="T36" fmla="*/ 0 w 26"/>
                <a:gd name="T37" fmla="*/ 1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0">
                  <a:moveTo>
                    <a:pt x="0" y="14"/>
                  </a:moveTo>
                  <a:cubicBezTo>
                    <a:pt x="1" y="19"/>
                    <a:pt x="1" y="23"/>
                    <a:pt x="3" y="26"/>
                  </a:cubicBezTo>
                  <a:cubicBezTo>
                    <a:pt x="5" y="27"/>
                    <a:pt x="6" y="23"/>
                    <a:pt x="6" y="26"/>
                  </a:cubicBezTo>
                  <a:cubicBezTo>
                    <a:pt x="3" y="28"/>
                    <a:pt x="6" y="30"/>
                    <a:pt x="8" y="32"/>
                  </a:cubicBezTo>
                  <a:cubicBezTo>
                    <a:pt x="7" y="32"/>
                    <a:pt x="5" y="32"/>
                    <a:pt x="4" y="32"/>
                  </a:cubicBezTo>
                  <a:cubicBezTo>
                    <a:pt x="5" y="35"/>
                    <a:pt x="6" y="39"/>
                    <a:pt x="9" y="40"/>
                  </a:cubicBezTo>
                  <a:cubicBezTo>
                    <a:pt x="11" y="37"/>
                    <a:pt x="11" y="33"/>
                    <a:pt x="9" y="31"/>
                  </a:cubicBezTo>
                  <a:cubicBezTo>
                    <a:pt x="13" y="28"/>
                    <a:pt x="14" y="33"/>
                    <a:pt x="17" y="33"/>
                  </a:cubicBezTo>
                  <a:cubicBezTo>
                    <a:pt x="19" y="32"/>
                    <a:pt x="16" y="31"/>
                    <a:pt x="18" y="30"/>
                  </a:cubicBezTo>
                  <a:cubicBezTo>
                    <a:pt x="20" y="32"/>
                    <a:pt x="21" y="35"/>
                    <a:pt x="25" y="36"/>
                  </a:cubicBezTo>
                  <a:cubicBezTo>
                    <a:pt x="26" y="34"/>
                    <a:pt x="22" y="32"/>
                    <a:pt x="25" y="29"/>
                  </a:cubicBezTo>
                  <a:cubicBezTo>
                    <a:pt x="22" y="28"/>
                    <a:pt x="23" y="30"/>
                    <a:pt x="20" y="30"/>
                  </a:cubicBezTo>
                  <a:cubicBezTo>
                    <a:pt x="20" y="27"/>
                    <a:pt x="18" y="27"/>
                    <a:pt x="16" y="26"/>
                  </a:cubicBezTo>
                  <a:cubicBezTo>
                    <a:pt x="16" y="27"/>
                    <a:pt x="15" y="28"/>
                    <a:pt x="13" y="28"/>
                  </a:cubicBezTo>
                  <a:cubicBezTo>
                    <a:pt x="12" y="25"/>
                    <a:pt x="10" y="22"/>
                    <a:pt x="11" y="18"/>
                  </a:cubicBezTo>
                  <a:cubicBezTo>
                    <a:pt x="18" y="15"/>
                    <a:pt x="16" y="10"/>
                    <a:pt x="16" y="2"/>
                  </a:cubicBezTo>
                  <a:cubicBezTo>
                    <a:pt x="12" y="2"/>
                    <a:pt x="9" y="2"/>
                    <a:pt x="6" y="0"/>
                  </a:cubicBezTo>
                  <a:cubicBezTo>
                    <a:pt x="3" y="3"/>
                    <a:pt x="3" y="9"/>
                    <a:pt x="3" y="15"/>
                  </a:cubicBezTo>
                  <a:cubicBezTo>
                    <a:pt x="1" y="15"/>
                    <a:pt x="2" y="13"/>
                    <a:pt x="0" y="14"/>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3" name="Freeform 159"/>
            <p:cNvSpPr>
              <a:spLocks/>
            </p:cNvSpPr>
            <p:nvPr/>
          </p:nvSpPr>
          <p:spPr bwMode="auto">
            <a:xfrm>
              <a:off x="3055086" y="4258316"/>
              <a:ext cx="42141" cy="24083"/>
            </a:xfrm>
            <a:custGeom>
              <a:avLst/>
              <a:gdLst>
                <a:gd name="T0" fmla="*/ 0 w 12"/>
                <a:gd name="T1" fmla="*/ 4 h 7"/>
                <a:gd name="T2" fmla="*/ 12 w 12"/>
                <a:gd name="T3" fmla="*/ 6 h 7"/>
                <a:gd name="T4" fmla="*/ 0 w 12"/>
                <a:gd name="T5" fmla="*/ 4 h 7"/>
              </a:gdLst>
              <a:ahLst/>
              <a:cxnLst>
                <a:cxn ang="0">
                  <a:pos x="T0" y="T1"/>
                </a:cxn>
                <a:cxn ang="0">
                  <a:pos x="T2" y="T3"/>
                </a:cxn>
                <a:cxn ang="0">
                  <a:pos x="T4" y="T5"/>
                </a:cxn>
              </a:cxnLst>
              <a:rect l="0" t="0" r="r" b="b"/>
              <a:pathLst>
                <a:path w="12" h="7">
                  <a:moveTo>
                    <a:pt x="0" y="4"/>
                  </a:moveTo>
                  <a:cubicBezTo>
                    <a:pt x="3" y="7"/>
                    <a:pt x="6" y="7"/>
                    <a:pt x="12" y="6"/>
                  </a:cubicBezTo>
                  <a:cubicBezTo>
                    <a:pt x="12" y="2"/>
                    <a:pt x="2" y="0"/>
                    <a:pt x="0" y="4"/>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4" name="Freeform 160"/>
            <p:cNvSpPr>
              <a:spLocks/>
            </p:cNvSpPr>
            <p:nvPr/>
          </p:nvSpPr>
          <p:spPr bwMode="auto">
            <a:xfrm>
              <a:off x="3190227" y="4332071"/>
              <a:ext cx="23251" cy="28599"/>
            </a:xfrm>
            <a:custGeom>
              <a:avLst/>
              <a:gdLst>
                <a:gd name="T0" fmla="*/ 3 w 7"/>
                <a:gd name="T1" fmla="*/ 0 h 8"/>
                <a:gd name="T2" fmla="*/ 7 w 7"/>
                <a:gd name="T3" fmla="*/ 6 h 8"/>
                <a:gd name="T4" fmla="*/ 3 w 7"/>
                <a:gd name="T5" fmla="*/ 0 h 8"/>
              </a:gdLst>
              <a:ahLst/>
              <a:cxnLst>
                <a:cxn ang="0">
                  <a:pos x="T0" y="T1"/>
                </a:cxn>
                <a:cxn ang="0">
                  <a:pos x="T2" y="T3"/>
                </a:cxn>
                <a:cxn ang="0">
                  <a:pos x="T4" y="T5"/>
                </a:cxn>
              </a:cxnLst>
              <a:rect l="0" t="0" r="r" b="b"/>
              <a:pathLst>
                <a:path w="7" h="8">
                  <a:moveTo>
                    <a:pt x="3" y="0"/>
                  </a:moveTo>
                  <a:cubicBezTo>
                    <a:pt x="0" y="3"/>
                    <a:pt x="5" y="8"/>
                    <a:pt x="7" y="6"/>
                  </a:cubicBezTo>
                  <a:cubicBezTo>
                    <a:pt x="7" y="2"/>
                    <a:pt x="4" y="2"/>
                    <a:pt x="3"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5" name="Freeform 161"/>
            <p:cNvSpPr>
              <a:spLocks/>
            </p:cNvSpPr>
            <p:nvPr/>
          </p:nvSpPr>
          <p:spPr bwMode="auto">
            <a:xfrm>
              <a:off x="3233823" y="4350132"/>
              <a:ext cx="17438" cy="21073"/>
            </a:xfrm>
            <a:custGeom>
              <a:avLst/>
              <a:gdLst>
                <a:gd name="T0" fmla="*/ 0 w 5"/>
                <a:gd name="T1" fmla="*/ 4 h 6"/>
                <a:gd name="T2" fmla="*/ 5 w 5"/>
                <a:gd name="T3" fmla="*/ 3 h 6"/>
                <a:gd name="T4" fmla="*/ 0 w 5"/>
                <a:gd name="T5" fmla="*/ 0 h 6"/>
                <a:gd name="T6" fmla="*/ 0 w 5"/>
                <a:gd name="T7" fmla="*/ 4 h 6"/>
              </a:gdLst>
              <a:ahLst/>
              <a:cxnLst>
                <a:cxn ang="0">
                  <a:pos x="T0" y="T1"/>
                </a:cxn>
                <a:cxn ang="0">
                  <a:pos x="T2" y="T3"/>
                </a:cxn>
                <a:cxn ang="0">
                  <a:pos x="T4" y="T5"/>
                </a:cxn>
                <a:cxn ang="0">
                  <a:pos x="T6" y="T7"/>
                </a:cxn>
              </a:cxnLst>
              <a:rect l="0" t="0" r="r" b="b"/>
              <a:pathLst>
                <a:path w="5" h="6">
                  <a:moveTo>
                    <a:pt x="0" y="4"/>
                  </a:moveTo>
                  <a:cubicBezTo>
                    <a:pt x="2" y="4"/>
                    <a:pt x="4" y="6"/>
                    <a:pt x="5" y="3"/>
                  </a:cubicBezTo>
                  <a:cubicBezTo>
                    <a:pt x="4" y="2"/>
                    <a:pt x="2" y="1"/>
                    <a:pt x="0" y="0"/>
                  </a:cubicBezTo>
                  <a:cubicBezTo>
                    <a:pt x="0" y="1"/>
                    <a:pt x="0" y="3"/>
                    <a:pt x="0" y="4"/>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6" name="Freeform 162"/>
            <p:cNvSpPr>
              <a:spLocks/>
            </p:cNvSpPr>
            <p:nvPr/>
          </p:nvSpPr>
          <p:spPr bwMode="auto">
            <a:xfrm>
              <a:off x="3255620" y="4350132"/>
              <a:ext cx="20344" cy="15052"/>
            </a:xfrm>
            <a:custGeom>
              <a:avLst/>
              <a:gdLst>
                <a:gd name="T0" fmla="*/ 4 w 6"/>
                <a:gd name="T1" fmla="*/ 4 h 4"/>
                <a:gd name="T2" fmla="*/ 0 w 6"/>
                <a:gd name="T3" fmla="*/ 0 h 4"/>
                <a:gd name="T4" fmla="*/ 4 w 6"/>
                <a:gd name="T5" fmla="*/ 4 h 4"/>
              </a:gdLst>
              <a:ahLst/>
              <a:cxnLst>
                <a:cxn ang="0">
                  <a:pos x="T0" y="T1"/>
                </a:cxn>
                <a:cxn ang="0">
                  <a:pos x="T2" y="T3"/>
                </a:cxn>
                <a:cxn ang="0">
                  <a:pos x="T4" y="T5"/>
                </a:cxn>
              </a:cxnLst>
              <a:rect l="0" t="0" r="r" b="b"/>
              <a:pathLst>
                <a:path w="6" h="4">
                  <a:moveTo>
                    <a:pt x="4" y="4"/>
                  </a:moveTo>
                  <a:cubicBezTo>
                    <a:pt x="6" y="2"/>
                    <a:pt x="3" y="0"/>
                    <a:pt x="0" y="0"/>
                  </a:cubicBezTo>
                  <a:cubicBezTo>
                    <a:pt x="0" y="3"/>
                    <a:pt x="2" y="4"/>
                    <a:pt x="4" y="4"/>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7" name="Freeform 163"/>
            <p:cNvSpPr>
              <a:spLocks/>
            </p:cNvSpPr>
            <p:nvPr/>
          </p:nvSpPr>
          <p:spPr bwMode="auto">
            <a:xfrm>
              <a:off x="3389311" y="4386255"/>
              <a:ext cx="47955" cy="49672"/>
            </a:xfrm>
            <a:custGeom>
              <a:avLst/>
              <a:gdLst>
                <a:gd name="T0" fmla="*/ 12 w 14"/>
                <a:gd name="T1" fmla="*/ 0 h 14"/>
                <a:gd name="T2" fmla="*/ 5 w 14"/>
                <a:gd name="T3" fmla="*/ 2 h 14"/>
                <a:gd name="T4" fmla="*/ 6 w 14"/>
                <a:gd name="T5" fmla="*/ 8 h 14"/>
                <a:gd name="T6" fmla="*/ 0 w 14"/>
                <a:gd name="T7" fmla="*/ 13 h 14"/>
                <a:gd name="T8" fmla="*/ 12 w 14"/>
                <a:gd name="T9" fmla="*/ 12 h 14"/>
                <a:gd name="T10" fmla="*/ 12 w 14"/>
                <a:gd name="T11" fmla="*/ 0 h 14"/>
              </a:gdLst>
              <a:ahLst/>
              <a:cxnLst>
                <a:cxn ang="0">
                  <a:pos x="T0" y="T1"/>
                </a:cxn>
                <a:cxn ang="0">
                  <a:pos x="T2" y="T3"/>
                </a:cxn>
                <a:cxn ang="0">
                  <a:pos x="T4" y="T5"/>
                </a:cxn>
                <a:cxn ang="0">
                  <a:pos x="T6" y="T7"/>
                </a:cxn>
                <a:cxn ang="0">
                  <a:pos x="T8" y="T9"/>
                </a:cxn>
                <a:cxn ang="0">
                  <a:pos x="T10" y="T11"/>
                </a:cxn>
              </a:cxnLst>
              <a:rect l="0" t="0" r="r" b="b"/>
              <a:pathLst>
                <a:path w="14" h="14">
                  <a:moveTo>
                    <a:pt x="12" y="0"/>
                  </a:moveTo>
                  <a:cubicBezTo>
                    <a:pt x="9" y="0"/>
                    <a:pt x="7" y="0"/>
                    <a:pt x="5" y="2"/>
                  </a:cubicBezTo>
                  <a:cubicBezTo>
                    <a:pt x="4" y="5"/>
                    <a:pt x="6" y="5"/>
                    <a:pt x="6" y="8"/>
                  </a:cubicBezTo>
                  <a:cubicBezTo>
                    <a:pt x="4" y="10"/>
                    <a:pt x="0" y="10"/>
                    <a:pt x="0" y="13"/>
                  </a:cubicBezTo>
                  <a:cubicBezTo>
                    <a:pt x="3" y="14"/>
                    <a:pt x="9" y="13"/>
                    <a:pt x="12" y="12"/>
                  </a:cubicBezTo>
                  <a:cubicBezTo>
                    <a:pt x="12" y="7"/>
                    <a:pt x="14" y="3"/>
                    <a:pt x="12"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8" name="Freeform 164"/>
            <p:cNvSpPr>
              <a:spLocks/>
            </p:cNvSpPr>
            <p:nvPr/>
          </p:nvSpPr>
          <p:spPr bwMode="auto">
            <a:xfrm>
              <a:off x="7093376" y="4381739"/>
              <a:ext cx="23251" cy="43650"/>
            </a:xfrm>
            <a:custGeom>
              <a:avLst/>
              <a:gdLst>
                <a:gd name="T0" fmla="*/ 7 w 7"/>
                <a:gd name="T1" fmla="*/ 12 h 12"/>
                <a:gd name="T2" fmla="*/ 0 w 7"/>
                <a:gd name="T3" fmla="*/ 3 h 12"/>
                <a:gd name="T4" fmla="*/ 7 w 7"/>
                <a:gd name="T5" fmla="*/ 12 h 12"/>
              </a:gdLst>
              <a:ahLst/>
              <a:cxnLst>
                <a:cxn ang="0">
                  <a:pos x="T0" y="T1"/>
                </a:cxn>
                <a:cxn ang="0">
                  <a:pos x="T2" y="T3"/>
                </a:cxn>
                <a:cxn ang="0">
                  <a:pos x="T4" y="T5"/>
                </a:cxn>
              </a:cxnLst>
              <a:rect l="0" t="0" r="r" b="b"/>
              <a:pathLst>
                <a:path w="7" h="12">
                  <a:moveTo>
                    <a:pt x="7" y="12"/>
                  </a:moveTo>
                  <a:cubicBezTo>
                    <a:pt x="7" y="7"/>
                    <a:pt x="7" y="0"/>
                    <a:pt x="0" y="3"/>
                  </a:cubicBezTo>
                  <a:cubicBezTo>
                    <a:pt x="3" y="6"/>
                    <a:pt x="3" y="12"/>
                    <a:pt x="7" y="12"/>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9" name="Freeform 165"/>
            <p:cNvSpPr>
              <a:spLocks/>
            </p:cNvSpPr>
            <p:nvPr/>
          </p:nvSpPr>
          <p:spPr bwMode="auto">
            <a:xfrm>
              <a:off x="7045424" y="4410339"/>
              <a:ext cx="30517" cy="60207"/>
            </a:xfrm>
            <a:custGeom>
              <a:avLst/>
              <a:gdLst>
                <a:gd name="T0" fmla="*/ 6 w 9"/>
                <a:gd name="T1" fmla="*/ 6 h 17"/>
                <a:gd name="T2" fmla="*/ 3 w 9"/>
                <a:gd name="T3" fmla="*/ 13 h 17"/>
                <a:gd name="T4" fmla="*/ 8 w 9"/>
                <a:gd name="T5" fmla="*/ 16 h 17"/>
                <a:gd name="T6" fmla="*/ 9 w 9"/>
                <a:gd name="T7" fmla="*/ 4 h 17"/>
                <a:gd name="T8" fmla="*/ 7 w 9"/>
                <a:gd name="T9" fmla="*/ 1 h 17"/>
                <a:gd name="T10" fmla="*/ 1 w 9"/>
                <a:gd name="T11" fmla="*/ 0 h 17"/>
                <a:gd name="T12" fmla="*/ 0 w 9"/>
                <a:gd name="T13" fmla="*/ 8 h 17"/>
                <a:gd name="T14" fmla="*/ 6 w 9"/>
                <a:gd name="T15" fmla="*/ 6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7">
                  <a:moveTo>
                    <a:pt x="6" y="6"/>
                  </a:moveTo>
                  <a:cubicBezTo>
                    <a:pt x="6" y="10"/>
                    <a:pt x="3" y="10"/>
                    <a:pt x="3" y="13"/>
                  </a:cubicBezTo>
                  <a:cubicBezTo>
                    <a:pt x="4" y="14"/>
                    <a:pt x="6" y="17"/>
                    <a:pt x="8" y="16"/>
                  </a:cubicBezTo>
                  <a:cubicBezTo>
                    <a:pt x="7" y="12"/>
                    <a:pt x="9" y="9"/>
                    <a:pt x="9" y="4"/>
                  </a:cubicBezTo>
                  <a:cubicBezTo>
                    <a:pt x="5" y="5"/>
                    <a:pt x="8" y="4"/>
                    <a:pt x="7" y="1"/>
                  </a:cubicBezTo>
                  <a:cubicBezTo>
                    <a:pt x="4" y="2"/>
                    <a:pt x="3" y="0"/>
                    <a:pt x="1" y="0"/>
                  </a:cubicBezTo>
                  <a:cubicBezTo>
                    <a:pt x="2" y="3"/>
                    <a:pt x="0" y="4"/>
                    <a:pt x="0" y="8"/>
                  </a:cubicBezTo>
                  <a:cubicBezTo>
                    <a:pt x="3" y="9"/>
                    <a:pt x="5" y="4"/>
                    <a:pt x="6" y="6"/>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0" name="Freeform 166"/>
            <p:cNvSpPr>
              <a:spLocks/>
            </p:cNvSpPr>
            <p:nvPr/>
          </p:nvSpPr>
          <p:spPr bwMode="auto">
            <a:xfrm>
              <a:off x="7038157" y="4449474"/>
              <a:ext cx="103174" cy="93320"/>
            </a:xfrm>
            <a:custGeom>
              <a:avLst/>
              <a:gdLst>
                <a:gd name="T0" fmla="*/ 14 w 30"/>
                <a:gd name="T1" fmla="*/ 10 h 26"/>
                <a:gd name="T2" fmla="*/ 10 w 30"/>
                <a:gd name="T3" fmla="*/ 7 h 26"/>
                <a:gd name="T4" fmla="*/ 2 w 30"/>
                <a:gd name="T5" fmla="*/ 18 h 26"/>
                <a:gd name="T6" fmla="*/ 7 w 30"/>
                <a:gd name="T7" fmla="*/ 13 h 26"/>
                <a:gd name="T8" fmla="*/ 13 w 30"/>
                <a:gd name="T9" fmla="*/ 13 h 26"/>
                <a:gd name="T10" fmla="*/ 15 w 30"/>
                <a:gd name="T11" fmla="*/ 16 h 26"/>
                <a:gd name="T12" fmla="*/ 14 w 30"/>
                <a:gd name="T13" fmla="*/ 20 h 26"/>
                <a:gd name="T14" fmla="*/ 21 w 30"/>
                <a:gd name="T15" fmla="*/ 23 h 26"/>
                <a:gd name="T16" fmla="*/ 23 w 30"/>
                <a:gd name="T17" fmla="*/ 26 h 26"/>
                <a:gd name="T18" fmla="*/ 25 w 30"/>
                <a:gd name="T19" fmla="*/ 17 h 26"/>
                <a:gd name="T20" fmla="*/ 27 w 30"/>
                <a:gd name="T21" fmla="*/ 20 h 26"/>
                <a:gd name="T22" fmla="*/ 29 w 30"/>
                <a:gd name="T23" fmla="*/ 9 h 26"/>
                <a:gd name="T24" fmla="*/ 23 w 30"/>
                <a:gd name="T25" fmla="*/ 0 h 26"/>
                <a:gd name="T26" fmla="*/ 23 w 30"/>
                <a:gd name="T27" fmla="*/ 5 h 26"/>
                <a:gd name="T28" fmla="*/ 14 w 30"/>
                <a:gd name="T29"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26">
                  <a:moveTo>
                    <a:pt x="14" y="10"/>
                  </a:moveTo>
                  <a:cubicBezTo>
                    <a:pt x="12" y="10"/>
                    <a:pt x="13" y="7"/>
                    <a:pt x="10" y="7"/>
                  </a:cubicBezTo>
                  <a:cubicBezTo>
                    <a:pt x="7" y="10"/>
                    <a:pt x="0" y="13"/>
                    <a:pt x="2" y="18"/>
                  </a:cubicBezTo>
                  <a:cubicBezTo>
                    <a:pt x="6" y="19"/>
                    <a:pt x="4" y="14"/>
                    <a:pt x="7" y="13"/>
                  </a:cubicBezTo>
                  <a:cubicBezTo>
                    <a:pt x="7" y="17"/>
                    <a:pt x="11" y="13"/>
                    <a:pt x="13" y="13"/>
                  </a:cubicBezTo>
                  <a:cubicBezTo>
                    <a:pt x="14" y="14"/>
                    <a:pt x="15" y="15"/>
                    <a:pt x="15" y="16"/>
                  </a:cubicBezTo>
                  <a:cubicBezTo>
                    <a:pt x="14" y="16"/>
                    <a:pt x="13" y="18"/>
                    <a:pt x="14" y="20"/>
                  </a:cubicBezTo>
                  <a:cubicBezTo>
                    <a:pt x="15" y="22"/>
                    <a:pt x="19" y="26"/>
                    <a:pt x="21" y="23"/>
                  </a:cubicBezTo>
                  <a:cubicBezTo>
                    <a:pt x="21" y="25"/>
                    <a:pt x="21" y="26"/>
                    <a:pt x="23" y="26"/>
                  </a:cubicBezTo>
                  <a:cubicBezTo>
                    <a:pt x="27" y="25"/>
                    <a:pt x="21" y="18"/>
                    <a:pt x="25" y="17"/>
                  </a:cubicBezTo>
                  <a:cubicBezTo>
                    <a:pt x="25" y="18"/>
                    <a:pt x="26" y="19"/>
                    <a:pt x="27" y="20"/>
                  </a:cubicBezTo>
                  <a:cubicBezTo>
                    <a:pt x="30" y="17"/>
                    <a:pt x="28" y="13"/>
                    <a:pt x="29" y="9"/>
                  </a:cubicBezTo>
                  <a:cubicBezTo>
                    <a:pt x="26" y="8"/>
                    <a:pt x="28" y="1"/>
                    <a:pt x="23" y="0"/>
                  </a:cubicBezTo>
                  <a:cubicBezTo>
                    <a:pt x="23" y="2"/>
                    <a:pt x="23" y="3"/>
                    <a:pt x="23" y="5"/>
                  </a:cubicBezTo>
                  <a:cubicBezTo>
                    <a:pt x="18" y="4"/>
                    <a:pt x="17" y="8"/>
                    <a:pt x="14" y="1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1" name="Freeform 167"/>
            <p:cNvSpPr>
              <a:spLocks/>
            </p:cNvSpPr>
            <p:nvPr/>
          </p:nvSpPr>
          <p:spPr bwMode="auto">
            <a:xfrm>
              <a:off x="6199693" y="4453989"/>
              <a:ext cx="75564" cy="81280"/>
            </a:xfrm>
            <a:custGeom>
              <a:avLst/>
              <a:gdLst>
                <a:gd name="T0" fmla="*/ 4 w 22"/>
                <a:gd name="T1" fmla="*/ 0 h 23"/>
                <a:gd name="T2" fmla="*/ 5 w 22"/>
                <a:gd name="T3" fmla="*/ 22 h 23"/>
                <a:gd name="T4" fmla="*/ 4 w 22"/>
                <a:gd name="T5" fmla="*/ 0 h 23"/>
              </a:gdLst>
              <a:ahLst/>
              <a:cxnLst>
                <a:cxn ang="0">
                  <a:pos x="T0" y="T1"/>
                </a:cxn>
                <a:cxn ang="0">
                  <a:pos x="T2" y="T3"/>
                </a:cxn>
                <a:cxn ang="0">
                  <a:pos x="T4" y="T5"/>
                </a:cxn>
              </a:cxnLst>
              <a:rect l="0" t="0" r="r" b="b"/>
              <a:pathLst>
                <a:path w="22" h="23">
                  <a:moveTo>
                    <a:pt x="4" y="0"/>
                  </a:moveTo>
                  <a:cubicBezTo>
                    <a:pt x="0" y="6"/>
                    <a:pt x="2" y="15"/>
                    <a:pt x="5" y="22"/>
                  </a:cubicBezTo>
                  <a:cubicBezTo>
                    <a:pt x="22" y="23"/>
                    <a:pt x="11" y="2"/>
                    <a:pt x="4"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2" name="Freeform 168"/>
            <p:cNvSpPr>
              <a:spLocks/>
            </p:cNvSpPr>
            <p:nvPr/>
          </p:nvSpPr>
          <p:spPr bwMode="auto">
            <a:xfrm>
              <a:off x="6766419" y="4509681"/>
              <a:ext cx="223784" cy="234807"/>
            </a:xfrm>
            <a:custGeom>
              <a:avLst/>
              <a:gdLst>
                <a:gd name="T0" fmla="*/ 13 w 65"/>
                <a:gd name="T1" fmla="*/ 60 h 66"/>
                <a:gd name="T2" fmla="*/ 22 w 65"/>
                <a:gd name="T3" fmla="*/ 59 h 66"/>
                <a:gd name="T4" fmla="*/ 23 w 65"/>
                <a:gd name="T5" fmla="*/ 63 h 66"/>
                <a:gd name="T6" fmla="*/ 30 w 65"/>
                <a:gd name="T7" fmla="*/ 60 h 66"/>
                <a:gd name="T8" fmla="*/ 37 w 65"/>
                <a:gd name="T9" fmla="*/ 61 h 66"/>
                <a:gd name="T10" fmla="*/ 38 w 65"/>
                <a:gd name="T11" fmla="*/ 66 h 66"/>
                <a:gd name="T12" fmla="*/ 55 w 65"/>
                <a:gd name="T13" fmla="*/ 47 h 66"/>
                <a:gd name="T14" fmla="*/ 58 w 65"/>
                <a:gd name="T15" fmla="*/ 37 h 66"/>
                <a:gd name="T16" fmla="*/ 64 w 65"/>
                <a:gd name="T17" fmla="*/ 36 h 66"/>
                <a:gd name="T18" fmla="*/ 55 w 65"/>
                <a:gd name="T19" fmla="*/ 21 h 66"/>
                <a:gd name="T20" fmla="*/ 56 w 65"/>
                <a:gd name="T21" fmla="*/ 18 h 66"/>
                <a:gd name="T22" fmla="*/ 61 w 65"/>
                <a:gd name="T23" fmla="*/ 16 h 66"/>
                <a:gd name="T24" fmla="*/ 60 w 65"/>
                <a:gd name="T25" fmla="*/ 13 h 66"/>
                <a:gd name="T26" fmla="*/ 65 w 65"/>
                <a:gd name="T27" fmla="*/ 10 h 66"/>
                <a:gd name="T28" fmla="*/ 56 w 65"/>
                <a:gd name="T29" fmla="*/ 6 h 66"/>
                <a:gd name="T30" fmla="*/ 50 w 65"/>
                <a:gd name="T31" fmla="*/ 0 h 66"/>
                <a:gd name="T32" fmla="*/ 42 w 65"/>
                <a:gd name="T33" fmla="*/ 9 h 66"/>
                <a:gd name="T34" fmla="*/ 42 w 65"/>
                <a:gd name="T35" fmla="*/ 12 h 66"/>
                <a:gd name="T36" fmla="*/ 39 w 65"/>
                <a:gd name="T37" fmla="*/ 11 h 66"/>
                <a:gd name="T38" fmla="*/ 17 w 65"/>
                <a:gd name="T39" fmla="*/ 33 h 66"/>
                <a:gd name="T40" fmla="*/ 8 w 65"/>
                <a:gd name="T41" fmla="*/ 30 h 66"/>
                <a:gd name="T42" fmla="*/ 13 w 65"/>
                <a:gd name="T43" fmla="*/ 6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5" h="66">
                  <a:moveTo>
                    <a:pt x="13" y="60"/>
                  </a:moveTo>
                  <a:cubicBezTo>
                    <a:pt x="16" y="59"/>
                    <a:pt x="18" y="60"/>
                    <a:pt x="22" y="59"/>
                  </a:cubicBezTo>
                  <a:cubicBezTo>
                    <a:pt x="22" y="61"/>
                    <a:pt x="22" y="63"/>
                    <a:pt x="23" y="63"/>
                  </a:cubicBezTo>
                  <a:cubicBezTo>
                    <a:pt x="24" y="61"/>
                    <a:pt x="28" y="61"/>
                    <a:pt x="30" y="60"/>
                  </a:cubicBezTo>
                  <a:cubicBezTo>
                    <a:pt x="32" y="62"/>
                    <a:pt x="33" y="64"/>
                    <a:pt x="37" y="61"/>
                  </a:cubicBezTo>
                  <a:cubicBezTo>
                    <a:pt x="37" y="63"/>
                    <a:pt x="39" y="64"/>
                    <a:pt x="38" y="66"/>
                  </a:cubicBezTo>
                  <a:cubicBezTo>
                    <a:pt x="52" y="66"/>
                    <a:pt x="45" y="50"/>
                    <a:pt x="55" y="47"/>
                  </a:cubicBezTo>
                  <a:cubicBezTo>
                    <a:pt x="57" y="44"/>
                    <a:pt x="54" y="38"/>
                    <a:pt x="58" y="37"/>
                  </a:cubicBezTo>
                  <a:cubicBezTo>
                    <a:pt x="60" y="37"/>
                    <a:pt x="63" y="39"/>
                    <a:pt x="64" y="36"/>
                  </a:cubicBezTo>
                  <a:cubicBezTo>
                    <a:pt x="58" y="32"/>
                    <a:pt x="58" y="27"/>
                    <a:pt x="55" y="21"/>
                  </a:cubicBezTo>
                  <a:cubicBezTo>
                    <a:pt x="56" y="21"/>
                    <a:pt x="58" y="19"/>
                    <a:pt x="56" y="18"/>
                  </a:cubicBezTo>
                  <a:cubicBezTo>
                    <a:pt x="59" y="18"/>
                    <a:pt x="60" y="17"/>
                    <a:pt x="61" y="16"/>
                  </a:cubicBezTo>
                  <a:cubicBezTo>
                    <a:pt x="62" y="14"/>
                    <a:pt x="58" y="13"/>
                    <a:pt x="60" y="13"/>
                  </a:cubicBezTo>
                  <a:cubicBezTo>
                    <a:pt x="63" y="13"/>
                    <a:pt x="65" y="12"/>
                    <a:pt x="65" y="10"/>
                  </a:cubicBezTo>
                  <a:cubicBezTo>
                    <a:pt x="63" y="9"/>
                    <a:pt x="61" y="6"/>
                    <a:pt x="56" y="6"/>
                  </a:cubicBezTo>
                  <a:cubicBezTo>
                    <a:pt x="57" y="0"/>
                    <a:pt x="52" y="2"/>
                    <a:pt x="50" y="0"/>
                  </a:cubicBezTo>
                  <a:cubicBezTo>
                    <a:pt x="49" y="4"/>
                    <a:pt x="47" y="8"/>
                    <a:pt x="42" y="9"/>
                  </a:cubicBezTo>
                  <a:cubicBezTo>
                    <a:pt x="41" y="11"/>
                    <a:pt x="44" y="12"/>
                    <a:pt x="42" y="12"/>
                  </a:cubicBezTo>
                  <a:cubicBezTo>
                    <a:pt x="41" y="12"/>
                    <a:pt x="40" y="11"/>
                    <a:pt x="39" y="11"/>
                  </a:cubicBezTo>
                  <a:cubicBezTo>
                    <a:pt x="34" y="20"/>
                    <a:pt x="21" y="22"/>
                    <a:pt x="17" y="33"/>
                  </a:cubicBezTo>
                  <a:cubicBezTo>
                    <a:pt x="15" y="31"/>
                    <a:pt x="11" y="31"/>
                    <a:pt x="8" y="30"/>
                  </a:cubicBezTo>
                  <a:cubicBezTo>
                    <a:pt x="0" y="42"/>
                    <a:pt x="13" y="47"/>
                    <a:pt x="13" y="6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3" name="Freeform 169"/>
            <p:cNvSpPr>
              <a:spLocks/>
            </p:cNvSpPr>
            <p:nvPr/>
          </p:nvSpPr>
          <p:spPr bwMode="auto">
            <a:xfrm>
              <a:off x="6506305" y="4538277"/>
              <a:ext cx="390896" cy="299530"/>
            </a:xfrm>
            <a:custGeom>
              <a:avLst/>
              <a:gdLst>
                <a:gd name="T0" fmla="*/ 114 w 114"/>
                <a:gd name="T1" fmla="*/ 84 h 84"/>
                <a:gd name="T2" fmla="*/ 113 w 114"/>
                <a:gd name="T3" fmla="*/ 78 h 84"/>
                <a:gd name="T4" fmla="*/ 104 w 114"/>
                <a:gd name="T5" fmla="*/ 78 h 84"/>
                <a:gd name="T6" fmla="*/ 102 w 114"/>
                <a:gd name="T7" fmla="*/ 73 h 84"/>
                <a:gd name="T8" fmla="*/ 92 w 114"/>
                <a:gd name="T9" fmla="*/ 71 h 84"/>
                <a:gd name="T10" fmla="*/ 80 w 114"/>
                <a:gd name="T11" fmla="*/ 73 h 84"/>
                <a:gd name="T12" fmla="*/ 65 w 114"/>
                <a:gd name="T13" fmla="*/ 67 h 84"/>
                <a:gd name="T14" fmla="*/ 65 w 114"/>
                <a:gd name="T15" fmla="*/ 51 h 84"/>
                <a:gd name="T16" fmla="*/ 56 w 114"/>
                <a:gd name="T17" fmla="*/ 39 h 84"/>
                <a:gd name="T18" fmla="*/ 50 w 114"/>
                <a:gd name="T19" fmla="*/ 37 h 84"/>
                <a:gd name="T20" fmla="*/ 52 w 114"/>
                <a:gd name="T21" fmla="*/ 33 h 84"/>
                <a:gd name="T22" fmla="*/ 38 w 114"/>
                <a:gd name="T23" fmla="*/ 20 h 84"/>
                <a:gd name="T24" fmla="*/ 33 w 114"/>
                <a:gd name="T25" fmla="*/ 21 h 84"/>
                <a:gd name="T26" fmla="*/ 16 w 114"/>
                <a:gd name="T27" fmla="*/ 2 h 84"/>
                <a:gd name="T28" fmla="*/ 3 w 114"/>
                <a:gd name="T29" fmla="*/ 0 h 84"/>
                <a:gd name="T30" fmla="*/ 15 w 114"/>
                <a:gd name="T31" fmla="*/ 20 h 84"/>
                <a:gd name="T32" fmla="*/ 23 w 114"/>
                <a:gd name="T33" fmla="*/ 25 h 84"/>
                <a:gd name="T34" fmla="*/ 24 w 114"/>
                <a:gd name="T35" fmla="*/ 32 h 84"/>
                <a:gd name="T36" fmla="*/ 34 w 114"/>
                <a:gd name="T37" fmla="*/ 43 h 84"/>
                <a:gd name="T38" fmla="*/ 57 w 114"/>
                <a:gd name="T39" fmla="*/ 69 h 84"/>
                <a:gd name="T40" fmla="*/ 64 w 114"/>
                <a:gd name="T41" fmla="*/ 69 h 84"/>
                <a:gd name="T42" fmla="*/ 60 w 114"/>
                <a:gd name="T43" fmla="*/ 73 h 84"/>
                <a:gd name="T44" fmla="*/ 67 w 114"/>
                <a:gd name="T45" fmla="*/ 77 h 84"/>
                <a:gd name="T46" fmla="*/ 114 w 114"/>
                <a:gd name="T47"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4" h="84">
                  <a:moveTo>
                    <a:pt x="114" y="84"/>
                  </a:moveTo>
                  <a:cubicBezTo>
                    <a:pt x="111" y="83"/>
                    <a:pt x="114" y="80"/>
                    <a:pt x="113" y="78"/>
                  </a:cubicBezTo>
                  <a:cubicBezTo>
                    <a:pt x="110" y="78"/>
                    <a:pt x="107" y="78"/>
                    <a:pt x="104" y="78"/>
                  </a:cubicBezTo>
                  <a:cubicBezTo>
                    <a:pt x="104" y="76"/>
                    <a:pt x="103" y="74"/>
                    <a:pt x="102" y="73"/>
                  </a:cubicBezTo>
                  <a:cubicBezTo>
                    <a:pt x="97" y="74"/>
                    <a:pt x="95" y="72"/>
                    <a:pt x="92" y="71"/>
                  </a:cubicBezTo>
                  <a:cubicBezTo>
                    <a:pt x="91" y="74"/>
                    <a:pt x="85" y="73"/>
                    <a:pt x="80" y="73"/>
                  </a:cubicBezTo>
                  <a:cubicBezTo>
                    <a:pt x="77" y="66"/>
                    <a:pt x="69" y="71"/>
                    <a:pt x="65" y="67"/>
                  </a:cubicBezTo>
                  <a:cubicBezTo>
                    <a:pt x="64" y="60"/>
                    <a:pt x="64" y="54"/>
                    <a:pt x="65" y="51"/>
                  </a:cubicBezTo>
                  <a:cubicBezTo>
                    <a:pt x="61" y="46"/>
                    <a:pt x="56" y="48"/>
                    <a:pt x="56" y="39"/>
                  </a:cubicBezTo>
                  <a:cubicBezTo>
                    <a:pt x="53" y="40"/>
                    <a:pt x="51" y="39"/>
                    <a:pt x="50" y="37"/>
                  </a:cubicBezTo>
                  <a:cubicBezTo>
                    <a:pt x="51" y="36"/>
                    <a:pt x="52" y="35"/>
                    <a:pt x="52" y="33"/>
                  </a:cubicBezTo>
                  <a:cubicBezTo>
                    <a:pt x="47" y="29"/>
                    <a:pt x="40" y="27"/>
                    <a:pt x="38" y="20"/>
                  </a:cubicBezTo>
                  <a:cubicBezTo>
                    <a:pt x="36" y="20"/>
                    <a:pt x="34" y="21"/>
                    <a:pt x="33" y="21"/>
                  </a:cubicBezTo>
                  <a:cubicBezTo>
                    <a:pt x="29" y="13"/>
                    <a:pt x="20" y="11"/>
                    <a:pt x="16" y="2"/>
                  </a:cubicBezTo>
                  <a:cubicBezTo>
                    <a:pt x="10" y="3"/>
                    <a:pt x="7" y="1"/>
                    <a:pt x="3" y="0"/>
                  </a:cubicBezTo>
                  <a:cubicBezTo>
                    <a:pt x="0" y="11"/>
                    <a:pt x="15" y="9"/>
                    <a:pt x="15" y="20"/>
                  </a:cubicBezTo>
                  <a:cubicBezTo>
                    <a:pt x="18" y="21"/>
                    <a:pt x="21" y="22"/>
                    <a:pt x="23" y="25"/>
                  </a:cubicBezTo>
                  <a:cubicBezTo>
                    <a:pt x="22" y="28"/>
                    <a:pt x="25" y="29"/>
                    <a:pt x="24" y="32"/>
                  </a:cubicBezTo>
                  <a:cubicBezTo>
                    <a:pt x="29" y="34"/>
                    <a:pt x="32" y="39"/>
                    <a:pt x="34" y="43"/>
                  </a:cubicBezTo>
                  <a:cubicBezTo>
                    <a:pt x="40" y="54"/>
                    <a:pt x="48" y="61"/>
                    <a:pt x="57" y="69"/>
                  </a:cubicBezTo>
                  <a:cubicBezTo>
                    <a:pt x="59" y="66"/>
                    <a:pt x="62" y="67"/>
                    <a:pt x="64" y="69"/>
                  </a:cubicBezTo>
                  <a:cubicBezTo>
                    <a:pt x="63" y="71"/>
                    <a:pt x="62" y="72"/>
                    <a:pt x="60" y="73"/>
                  </a:cubicBezTo>
                  <a:cubicBezTo>
                    <a:pt x="63" y="74"/>
                    <a:pt x="68" y="74"/>
                    <a:pt x="67" y="77"/>
                  </a:cubicBezTo>
                  <a:cubicBezTo>
                    <a:pt x="83" y="79"/>
                    <a:pt x="100" y="83"/>
                    <a:pt x="114" y="84"/>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4" name="Freeform 170"/>
            <p:cNvSpPr>
              <a:spLocks/>
            </p:cNvSpPr>
            <p:nvPr/>
          </p:nvSpPr>
          <p:spPr bwMode="auto">
            <a:xfrm>
              <a:off x="7151503" y="4613538"/>
              <a:ext cx="33423" cy="63217"/>
            </a:xfrm>
            <a:custGeom>
              <a:avLst/>
              <a:gdLst>
                <a:gd name="T0" fmla="*/ 4 w 10"/>
                <a:gd name="T1" fmla="*/ 0 h 18"/>
                <a:gd name="T2" fmla="*/ 8 w 10"/>
                <a:gd name="T3" fmla="*/ 18 h 18"/>
                <a:gd name="T4" fmla="*/ 5 w 10"/>
                <a:gd name="T5" fmla="*/ 11 h 18"/>
                <a:gd name="T6" fmla="*/ 9 w 10"/>
                <a:gd name="T7" fmla="*/ 12 h 18"/>
                <a:gd name="T8" fmla="*/ 7 w 10"/>
                <a:gd name="T9" fmla="*/ 8 h 18"/>
                <a:gd name="T10" fmla="*/ 9 w 10"/>
                <a:gd name="T11" fmla="*/ 4 h 18"/>
                <a:gd name="T12" fmla="*/ 5 w 10"/>
                <a:gd name="T13" fmla="*/ 4 h 18"/>
                <a:gd name="T14" fmla="*/ 4 w 10"/>
                <a:gd name="T15" fmla="*/ 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8">
                  <a:moveTo>
                    <a:pt x="4" y="0"/>
                  </a:moveTo>
                  <a:cubicBezTo>
                    <a:pt x="0" y="6"/>
                    <a:pt x="0" y="16"/>
                    <a:pt x="8" y="18"/>
                  </a:cubicBezTo>
                  <a:cubicBezTo>
                    <a:pt x="8" y="15"/>
                    <a:pt x="4" y="15"/>
                    <a:pt x="5" y="11"/>
                  </a:cubicBezTo>
                  <a:cubicBezTo>
                    <a:pt x="7" y="11"/>
                    <a:pt x="8" y="11"/>
                    <a:pt x="9" y="12"/>
                  </a:cubicBezTo>
                  <a:cubicBezTo>
                    <a:pt x="10" y="9"/>
                    <a:pt x="8" y="9"/>
                    <a:pt x="7" y="8"/>
                  </a:cubicBezTo>
                  <a:cubicBezTo>
                    <a:pt x="10" y="7"/>
                    <a:pt x="8" y="5"/>
                    <a:pt x="9" y="4"/>
                  </a:cubicBezTo>
                  <a:cubicBezTo>
                    <a:pt x="8" y="3"/>
                    <a:pt x="6" y="4"/>
                    <a:pt x="5" y="4"/>
                  </a:cubicBezTo>
                  <a:cubicBezTo>
                    <a:pt x="5" y="2"/>
                    <a:pt x="5" y="0"/>
                    <a:pt x="4"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5" name="Freeform 171"/>
            <p:cNvSpPr>
              <a:spLocks/>
            </p:cNvSpPr>
            <p:nvPr/>
          </p:nvSpPr>
          <p:spPr bwMode="auto">
            <a:xfrm>
              <a:off x="6962594" y="4616548"/>
              <a:ext cx="154034" cy="164065"/>
            </a:xfrm>
            <a:custGeom>
              <a:avLst/>
              <a:gdLst>
                <a:gd name="T0" fmla="*/ 43 w 45"/>
                <a:gd name="T1" fmla="*/ 2 h 46"/>
                <a:gd name="T2" fmla="*/ 41 w 45"/>
                <a:gd name="T3" fmla="*/ 1 h 46"/>
                <a:gd name="T4" fmla="*/ 19 w 45"/>
                <a:gd name="T5" fmla="*/ 4 h 46"/>
                <a:gd name="T6" fmla="*/ 5 w 45"/>
                <a:gd name="T7" fmla="*/ 28 h 46"/>
                <a:gd name="T8" fmla="*/ 6 w 45"/>
                <a:gd name="T9" fmla="*/ 33 h 46"/>
                <a:gd name="T10" fmla="*/ 10 w 45"/>
                <a:gd name="T11" fmla="*/ 33 h 46"/>
                <a:gd name="T12" fmla="*/ 8 w 45"/>
                <a:gd name="T13" fmla="*/ 44 h 46"/>
                <a:gd name="T14" fmla="*/ 15 w 45"/>
                <a:gd name="T15" fmla="*/ 44 h 46"/>
                <a:gd name="T16" fmla="*/ 18 w 45"/>
                <a:gd name="T17" fmla="*/ 28 h 46"/>
                <a:gd name="T18" fmla="*/ 22 w 45"/>
                <a:gd name="T19" fmla="*/ 40 h 46"/>
                <a:gd name="T20" fmla="*/ 30 w 45"/>
                <a:gd name="T21" fmla="*/ 37 h 46"/>
                <a:gd name="T22" fmla="*/ 22 w 45"/>
                <a:gd name="T23" fmla="*/ 23 h 46"/>
                <a:gd name="T24" fmla="*/ 33 w 45"/>
                <a:gd name="T25" fmla="*/ 19 h 46"/>
                <a:gd name="T26" fmla="*/ 17 w 45"/>
                <a:gd name="T27" fmla="*/ 20 h 46"/>
                <a:gd name="T28" fmla="*/ 43 w 45"/>
                <a:gd name="T29" fmla="*/ 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5" h="46">
                  <a:moveTo>
                    <a:pt x="43" y="2"/>
                  </a:moveTo>
                  <a:cubicBezTo>
                    <a:pt x="43" y="1"/>
                    <a:pt x="42" y="1"/>
                    <a:pt x="41" y="1"/>
                  </a:cubicBezTo>
                  <a:cubicBezTo>
                    <a:pt x="38" y="12"/>
                    <a:pt x="25" y="4"/>
                    <a:pt x="19" y="4"/>
                  </a:cubicBezTo>
                  <a:cubicBezTo>
                    <a:pt x="8" y="5"/>
                    <a:pt x="11" y="20"/>
                    <a:pt x="5" y="28"/>
                  </a:cubicBezTo>
                  <a:cubicBezTo>
                    <a:pt x="5" y="30"/>
                    <a:pt x="6" y="31"/>
                    <a:pt x="6" y="33"/>
                  </a:cubicBezTo>
                  <a:cubicBezTo>
                    <a:pt x="8" y="33"/>
                    <a:pt x="8" y="31"/>
                    <a:pt x="10" y="33"/>
                  </a:cubicBezTo>
                  <a:cubicBezTo>
                    <a:pt x="10" y="35"/>
                    <a:pt x="10" y="41"/>
                    <a:pt x="8" y="44"/>
                  </a:cubicBezTo>
                  <a:cubicBezTo>
                    <a:pt x="10" y="46"/>
                    <a:pt x="13" y="45"/>
                    <a:pt x="15" y="44"/>
                  </a:cubicBezTo>
                  <a:cubicBezTo>
                    <a:pt x="17" y="39"/>
                    <a:pt x="12" y="29"/>
                    <a:pt x="18" y="28"/>
                  </a:cubicBezTo>
                  <a:cubicBezTo>
                    <a:pt x="16" y="35"/>
                    <a:pt x="23" y="34"/>
                    <a:pt x="22" y="40"/>
                  </a:cubicBezTo>
                  <a:cubicBezTo>
                    <a:pt x="26" y="41"/>
                    <a:pt x="26" y="37"/>
                    <a:pt x="30" y="37"/>
                  </a:cubicBezTo>
                  <a:cubicBezTo>
                    <a:pt x="26" y="33"/>
                    <a:pt x="27" y="27"/>
                    <a:pt x="22" y="23"/>
                  </a:cubicBezTo>
                  <a:cubicBezTo>
                    <a:pt x="27" y="23"/>
                    <a:pt x="29" y="17"/>
                    <a:pt x="33" y="19"/>
                  </a:cubicBezTo>
                  <a:cubicBezTo>
                    <a:pt x="33" y="11"/>
                    <a:pt x="21" y="18"/>
                    <a:pt x="17" y="20"/>
                  </a:cubicBezTo>
                  <a:cubicBezTo>
                    <a:pt x="0" y="0"/>
                    <a:pt x="45" y="19"/>
                    <a:pt x="43" y="2"/>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6" name="Freeform 172"/>
            <p:cNvSpPr>
              <a:spLocks/>
            </p:cNvSpPr>
            <p:nvPr/>
          </p:nvSpPr>
          <p:spPr bwMode="auto">
            <a:xfrm>
              <a:off x="7229972" y="4660197"/>
              <a:ext cx="398161" cy="219756"/>
            </a:xfrm>
            <a:custGeom>
              <a:avLst/>
              <a:gdLst>
                <a:gd name="T0" fmla="*/ 38 w 116"/>
                <a:gd name="T1" fmla="*/ 8 h 62"/>
                <a:gd name="T2" fmla="*/ 24 w 116"/>
                <a:gd name="T3" fmla="*/ 19 h 62"/>
                <a:gd name="T4" fmla="*/ 19 w 116"/>
                <a:gd name="T5" fmla="*/ 14 h 62"/>
                <a:gd name="T6" fmla="*/ 18 w 116"/>
                <a:gd name="T7" fmla="*/ 5 h 62"/>
                <a:gd name="T8" fmla="*/ 0 w 116"/>
                <a:gd name="T9" fmla="*/ 9 h 62"/>
                <a:gd name="T10" fmla="*/ 11 w 116"/>
                <a:gd name="T11" fmla="*/ 14 h 62"/>
                <a:gd name="T12" fmla="*/ 5 w 116"/>
                <a:gd name="T13" fmla="*/ 15 h 62"/>
                <a:gd name="T14" fmla="*/ 11 w 116"/>
                <a:gd name="T15" fmla="*/ 24 h 62"/>
                <a:gd name="T16" fmla="*/ 15 w 116"/>
                <a:gd name="T17" fmla="*/ 19 h 62"/>
                <a:gd name="T18" fmla="*/ 44 w 116"/>
                <a:gd name="T19" fmla="*/ 42 h 62"/>
                <a:gd name="T20" fmla="*/ 38 w 116"/>
                <a:gd name="T21" fmla="*/ 49 h 62"/>
                <a:gd name="T22" fmla="*/ 52 w 116"/>
                <a:gd name="T23" fmla="*/ 47 h 62"/>
                <a:gd name="T24" fmla="*/ 56 w 116"/>
                <a:gd name="T25" fmla="*/ 54 h 62"/>
                <a:gd name="T26" fmla="*/ 71 w 116"/>
                <a:gd name="T27" fmla="*/ 52 h 62"/>
                <a:gd name="T28" fmla="*/ 70 w 116"/>
                <a:gd name="T29" fmla="*/ 48 h 62"/>
                <a:gd name="T30" fmla="*/ 85 w 116"/>
                <a:gd name="T31" fmla="*/ 47 h 62"/>
                <a:gd name="T32" fmla="*/ 113 w 116"/>
                <a:gd name="T33" fmla="*/ 62 h 62"/>
                <a:gd name="T34" fmla="*/ 109 w 116"/>
                <a:gd name="T35" fmla="*/ 55 h 62"/>
                <a:gd name="T36" fmla="*/ 92 w 116"/>
                <a:gd name="T37" fmla="*/ 39 h 62"/>
                <a:gd name="T38" fmla="*/ 97 w 116"/>
                <a:gd name="T39" fmla="*/ 39 h 62"/>
                <a:gd name="T40" fmla="*/ 85 w 116"/>
                <a:gd name="T41" fmla="*/ 30 h 62"/>
                <a:gd name="T42" fmla="*/ 85 w 116"/>
                <a:gd name="T43" fmla="*/ 28 h 62"/>
                <a:gd name="T44" fmla="*/ 38 w 116"/>
                <a:gd name="T45" fmla="*/ 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6" h="62">
                  <a:moveTo>
                    <a:pt x="38" y="8"/>
                  </a:moveTo>
                  <a:cubicBezTo>
                    <a:pt x="33" y="12"/>
                    <a:pt x="28" y="15"/>
                    <a:pt x="24" y="19"/>
                  </a:cubicBezTo>
                  <a:cubicBezTo>
                    <a:pt x="21" y="18"/>
                    <a:pt x="21" y="14"/>
                    <a:pt x="19" y="14"/>
                  </a:cubicBezTo>
                  <a:cubicBezTo>
                    <a:pt x="17" y="11"/>
                    <a:pt x="18" y="10"/>
                    <a:pt x="18" y="5"/>
                  </a:cubicBezTo>
                  <a:cubicBezTo>
                    <a:pt x="12" y="2"/>
                    <a:pt x="1" y="0"/>
                    <a:pt x="0" y="9"/>
                  </a:cubicBezTo>
                  <a:cubicBezTo>
                    <a:pt x="6" y="8"/>
                    <a:pt x="5" y="15"/>
                    <a:pt x="11" y="14"/>
                  </a:cubicBezTo>
                  <a:cubicBezTo>
                    <a:pt x="10" y="16"/>
                    <a:pt x="7" y="15"/>
                    <a:pt x="5" y="15"/>
                  </a:cubicBezTo>
                  <a:cubicBezTo>
                    <a:pt x="9" y="18"/>
                    <a:pt x="8" y="21"/>
                    <a:pt x="11" y="24"/>
                  </a:cubicBezTo>
                  <a:cubicBezTo>
                    <a:pt x="13" y="23"/>
                    <a:pt x="14" y="21"/>
                    <a:pt x="15" y="19"/>
                  </a:cubicBezTo>
                  <a:cubicBezTo>
                    <a:pt x="20" y="29"/>
                    <a:pt x="45" y="26"/>
                    <a:pt x="44" y="42"/>
                  </a:cubicBezTo>
                  <a:cubicBezTo>
                    <a:pt x="40" y="42"/>
                    <a:pt x="37" y="47"/>
                    <a:pt x="38" y="49"/>
                  </a:cubicBezTo>
                  <a:cubicBezTo>
                    <a:pt x="45" y="48"/>
                    <a:pt x="44" y="46"/>
                    <a:pt x="52" y="47"/>
                  </a:cubicBezTo>
                  <a:cubicBezTo>
                    <a:pt x="52" y="50"/>
                    <a:pt x="55" y="51"/>
                    <a:pt x="56" y="54"/>
                  </a:cubicBezTo>
                  <a:cubicBezTo>
                    <a:pt x="62" y="54"/>
                    <a:pt x="68" y="55"/>
                    <a:pt x="71" y="52"/>
                  </a:cubicBezTo>
                  <a:cubicBezTo>
                    <a:pt x="72" y="50"/>
                    <a:pt x="67" y="49"/>
                    <a:pt x="70" y="48"/>
                  </a:cubicBezTo>
                  <a:cubicBezTo>
                    <a:pt x="74" y="45"/>
                    <a:pt x="78" y="44"/>
                    <a:pt x="85" y="47"/>
                  </a:cubicBezTo>
                  <a:cubicBezTo>
                    <a:pt x="89" y="57"/>
                    <a:pt x="101" y="59"/>
                    <a:pt x="113" y="62"/>
                  </a:cubicBezTo>
                  <a:cubicBezTo>
                    <a:pt x="116" y="58"/>
                    <a:pt x="107" y="59"/>
                    <a:pt x="109" y="55"/>
                  </a:cubicBezTo>
                  <a:cubicBezTo>
                    <a:pt x="102" y="52"/>
                    <a:pt x="96" y="47"/>
                    <a:pt x="92" y="39"/>
                  </a:cubicBezTo>
                  <a:cubicBezTo>
                    <a:pt x="94" y="39"/>
                    <a:pt x="95" y="39"/>
                    <a:pt x="97" y="39"/>
                  </a:cubicBezTo>
                  <a:cubicBezTo>
                    <a:pt x="97" y="32"/>
                    <a:pt x="88" y="34"/>
                    <a:pt x="85" y="30"/>
                  </a:cubicBezTo>
                  <a:cubicBezTo>
                    <a:pt x="85" y="29"/>
                    <a:pt x="86" y="29"/>
                    <a:pt x="85" y="28"/>
                  </a:cubicBezTo>
                  <a:cubicBezTo>
                    <a:pt x="73" y="18"/>
                    <a:pt x="53" y="15"/>
                    <a:pt x="38" y="8"/>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7" name="Freeform 173"/>
            <p:cNvSpPr>
              <a:spLocks/>
            </p:cNvSpPr>
            <p:nvPr/>
          </p:nvSpPr>
          <p:spPr bwMode="auto">
            <a:xfrm>
              <a:off x="6711200" y="4688796"/>
              <a:ext cx="34875" cy="34619"/>
            </a:xfrm>
            <a:custGeom>
              <a:avLst/>
              <a:gdLst>
                <a:gd name="T0" fmla="*/ 5 w 10"/>
                <a:gd name="T1" fmla="*/ 9 h 10"/>
                <a:gd name="T2" fmla="*/ 9 w 10"/>
                <a:gd name="T3" fmla="*/ 10 h 10"/>
                <a:gd name="T4" fmla="*/ 10 w 10"/>
                <a:gd name="T5" fmla="*/ 6 h 10"/>
                <a:gd name="T6" fmla="*/ 4 w 10"/>
                <a:gd name="T7" fmla="*/ 0 h 10"/>
                <a:gd name="T8" fmla="*/ 1 w 10"/>
                <a:gd name="T9" fmla="*/ 1 h 10"/>
                <a:gd name="T10" fmla="*/ 0 w 10"/>
                <a:gd name="T11" fmla="*/ 4 h 10"/>
                <a:gd name="T12" fmla="*/ 5 w 10"/>
                <a:gd name="T13" fmla="*/ 9 h 10"/>
              </a:gdLst>
              <a:ahLst/>
              <a:cxnLst>
                <a:cxn ang="0">
                  <a:pos x="T0" y="T1"/>
                </a:cxn>
                <a:cxn ang="0">
                  <a:pos x="T2" y="T3"/>
                </a:cxn>
                <a:cxn ang="0">
                  <a:pos x="T4" y="T5"/>
                </a:cxn>
                <a:cxn ang="0">
                  <a:pos x="T6" y="T7"/>
                </a:cxn>
                <a:cxn ang="0">
                  <a:pos x="T8" y="T9"/>
                </a:cxn>
                <a:cxn ang="0">
                  <a:pos x="T10" y="T11"/>
                </a:cxn>
                <a:cxn ang="0">
                  <a:pos x="T12" y="T13"/>
                </a:cxn>
              </a:cxnLst>
              <a:rect l="0" t="0" r="r" b="b"/>
              <a:pathLst>
                <a:path w="10" h="10">
                  <a:moveTo>
                    <a:pt x="5" y="9"/>
                  </a:moveTo>
                  <a:cubicBezTo>
                    <a:pt x="7" y="8"/>
                    <a:pt x="7" y="10"/>
                    <a:pt x="9" y="10"/>
                  </a:cubicBezTo>
                  <a:cubicBezTo>
                    <a:pt x="9" y="8"/>
                    <a:pt x="9" y="7"/>
                    <a:pt x="10" y="6"/>
                  </a:cubicBezTo>
                  <a:cubicBezTo>
                    <a:pt x="6" y="6"/>
                    <a:pt x="6" y="2"/>
                    <a:pt x="4" y="0"/>
                  </a:cubicBezTo>
                  <a:cubicBezTo>
                    <a:pt x="4" y="1"/>
                    <a:pt x="2" y="1"/>
                    <a:pt x="1" y="1"/>
                  </a:cubicBezTo>
                  <a:cubicBezTo>
                    <a:pt x="1" y="2"/>
                    <a:pt x="0" y="3"/>
                    <a:pt x="0" y="4"/>
                  </a:cubicBezTo>
                  <a:cubicBezTo>
                    <a:pt x="4" y="3"/>
                    <a:pt x="4" y="6"/>
                    <a:pt x="5" y="9"/>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8" name="Freeform 174"/>
            <p:cNvSpPr>
              <a:spLocks/>
            </p:cNvSpPr>
            <p:nvPr/>
          </p:nvSpPr>
          <p:spPr bwMode="auto">
            <a:xfrm>
              <a:off x="7168940" y="4705354"/>
              <a:ext cx="58126" cy="33114"/>
            </a:xfrm>
            <a:custGeom>
              <a:avLst/>
              <a:gdLst>
                <a:gd name="T0" fmla="*/ 0 w 17"/>
                <a:gd name="T1" fmla="*/ 3 h 9"/>
                <a:gd name="T2" fmla="*/ 2 w 17"/>
                <a:gd name="T3" fmla="*/ 7 h 9"/>
                <a:gd name="T4" fmla="*/ 17 w 17"/>
                <a:gd name="T5" fmla="*/ 9 h 9"/>
                <a:gd name="T6" fmla="*/ 0 w 17"/>
                <a:gd name="T7" fmla="*/ 3 h 9"/>
              </a:gdLst>
              <a:ahLst/>
              <a:cxnLst>
                <a:cxn ang="0">
                  <a:pos x="T0" y="T1"/>
                </a:cxn>
                <a:cxn ang="0">
                  <a:pos x="T2" y="T3"/>
                </a:cxn>
                <a:cxn ang="0">
                  <a:pos x="T4" y="T5"/>
                </a:cxn>
                <a:cxn ang="0">
                  <a:pos x="T6" y="T7"/>
                </a:cxn>
              </a:cxnLst>
              <a:rect l="0" t="0" r="r" b="b"/>
              <a:pathLst>
                <a:path w="17" h="9">
                  <a:moveTo>
                    <a:pt x="0" y="3"/>
                  </a:moveTo>
                  <a:cubicBezTo>
                    <a:pt x="0" y="6"/>
                    <a:pt x="2" y="6"/>
                    <a:pt x="2" y="7"/>
                  </a:cubicBezTo>
                  <a:cubicBezTo>
                    <a:pt x="8" y="5"/>
                    <a:pt x="10" y="7"/>
                    <a:pt x="17" y="9"/>
                  </a:cubicBezTo>
                  <a:cubicBezTo>
                    <a:pt x="16" y="0"/>
                    <a:pt x="7" y="4"/>
                    <a:pt x="0" y="3"/>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9" name="Freeform 175"/>
            <p:cNvSpPr>
              <a:spLocks/>
            </p:cNvSpPr>
            <p:nvPr/>
          </p:nvSpPr>
          <p:spPr bwMode="auto">
            <a:xfrm>
              <a:off x="7126800" y="4715888"/>
              <a:ext cx="24704" cy="25589"/>
            </a:xfrm>
            <a:custGeom>
              <a:avLst/>
              <a:gdLst>
                <a:gd name="T0" fmla="*/ 0 w 7"/>
                <a:gd name="T1" fmla="*/ 3 h 7"/>
                <a:gd name="T2" fmla="*/ 7 w 7"/>
                <a:gd name="T3" fmla="*/ 5 h 7"/>
                <a:gd name="T4" fmla="*/ 0 w 7"/>
                <a:gd name="T5" fmla="*/ 3 h 7"/>
              </a:gdLst>
              <a:ahLst/>
              <a:cxnLst>
                <a:cxn ang="0">
                  <a:pos x="T0" y="T1"/>
                </a:cxn>
                <a:cxn ang="0">
                  <a:pos x="T2" y="T3"/>
                </a:cxn>
                <a:cxn ang="0">
                  <a:pos x="T4" y="T5"/>
                </a:cxn>
              </a:cxnLst>
              <a:rect l="0" t="0" r="r" b="b"/>
              <a:pathLst>
                <a:path w="7" h="7">
                  <a:moveTo>
                    <a:pt x="0" y="3"/>
                  </a:moveTo>
                  <a:cubicBezTo>
                    <a:pt x="1" y="5"/>
                    <a:pt x="5" y="7"/>
                    <a:pt x="7" y="5"/>
                  </a:cubicBezTo>
                  <a:cubicBezTo>
                    <a:pt x="7" y="1"/>
                    <a:pt x="2" y="0"/>
                    <a:pt x="0" y="3"/>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0" name="Freeform 176"/>
            <p:cNvSpPr>
              <a:spLocks/>
            </p:cNvSpPr>
            <p:nvPr/>
          </p:nvSpPr>
          <p:spPr bwMode="auto">
            <a:xfrm>
              <a:off x="7570009" y="4741478"/>
              <a:ext cx="82830" cy="60207"/>
            </a:xfrm>
            <a:custGeom>
              <a:avLst/>
              <a:gdLst>
                <a:gd name="T0" fmla="*/ 24 w 24"/>
                <a:gd name="T1" fmla="*/ 5 h 17"/>
                <a:gd name="T2" fmla="*/ 23 w 24"/>
                <a:gd name="T3" fmla="*/ 0 h 17"/>
                <a:gd name="T4" fmla="*/ 19 w 24"/>
                <a:gd name="T5" fmla="*/ 1 h 17"/>
                <a:gd name="T6" fmla="*/ 13 w 24"/>
                <a:gd name="T7" fmla="*/ 9 h 17"/>
                <a:gd name="T8" fmla="*/ 9 w 24"/>
                <a:gd name="T9" fmla="*/ 6 h 17"/>
                <a:gd name="T10" fmla="*/ 0 w 24"/>
                <a:gd name="T11" fmla="*/ 9 h 17"/>
                <a:gd name="T12" fmla="*/ 23 w 24"/>
                <a:gd name="T13" fmla="*/ 9 h 17"/>
                <a:gd name="T14" fmla="*/ 24 w 24"/>
                <a:gd name="T15" fmla="*/ 5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17">
                  <a:moveTo>
                    <a:pt x="24" y="5"/>
                  </a:moveTo>
                  <a:cubicBezTo>
                    <a:pt x="24" y="3"/>
                    <a:pt x="24" y="2"/>
                    <a:pt x="23" y="0"/>
                  </a:cubicBezTo>
                  <a:cubicBezTo>
                    <a:pt x="22" y="2"/>
                    <a:pt x="21" y="1"/>
                    <a:pt x="19" y="1"/>
                  </a:cubicBezTo>
                  <a:cubicBezTo>
                    <a:pt x="20" y="6"/>
                    <a:pt x="15" y="6"/>
                    <a:pt x="13" y="9"/>
                  </a:cubicBezTo>
                  <a:cubicBezTo>
                    <a:pt x="11" y="9"/>
                    <a:pt x="11" y="7"/>
                    <a:pt x="9" y="6"/>
                  </a:cubicBezTo>
                  <a:cubicBezTo>
                    <a:pt x="9" y="11"/>
                    <a:pt x="3" y="7"/>
                    <a:pt x="0" y="9"/>
                  </a:cubicBezTo>
                  <a:cubicBezTo>
                    <a:pt x="5" y="17"/>
                    <a:pt x="17" y="13"/>
                    <a:pt x="23" y="9"/>
                  </a:cubicBezTo>
                  <a:cubicBezTo>
                    <a:pt x="22" y="6"/>
                    <a:pt x="22" y="6"/>
                    <a:pt x="24" y="5"/>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1" name="Freeform 177"/>
            <p:cNvSpPr>
              <a:spLocks/>
            </p:cNvSpPr>
            <p:nvPr/>
          </p:nvSpPr>
          <p:spPr bwMode="auto">
            <a:xfrm>
              <a:off x="6942250" y="4822757"/>
              <a:ext cx="47955" cy="28599"/>
            </a:xfrm>
            <a:custGeom>
              <a:avLst/>
              <a:gdLst>
                <a:gd name="T0" fmla="*/ 7 w 14"/>
                <a:gd name="T1" fmla="*/ 0 h 8"/>
                <a:gd name="T2" fmla="*/ 0 w 14"/>
                <a:gd name="T3" fmla="*/ 3 h 8"/>
                <a:gd name="T4" fmla="*/ 0 w 14"/>
                <a:gd name="T5" fmla="*/ 6 h 8"/>
                <a:gd name="T6" fmla="*/ 14 w 14"/>
                <a:gd name="T7" fmla="*/ 4 h 8"/>
                <a:gd name="T8" fmla="*/ 7 w 14"/>
                <a:gd name="T9" fmla="*/ 0 h 8"/>
              </a:gdLst>
              <a:ahLst/>
              <a:cxnLst>
                <a:cxn ang="0">
                  <a:pos x="T0" y="T1"/>
                </a:cxn>
                <a:cxn ang="0">
                  <a:pos x="T2" y="T3"/>
                </a:cxn>
                <a:cxn ang="0">
                  <a:pos x="T4" y="T5"/>
                </a:cxn>
                <a:cxn ang="0">
                  <a:pos x="T6" y="T7"/>
                </a:cxn>
                <a:cxn ang="0">
                  <a:pos x="T8" y="T9"/>
                </a:cxn>
              </a:cxnLst>
              <a:rect l="0" t="0" r="r" b="b"/>
              <a:pathLst>
                <a:path w="14" h="8">
                  <a:moveTo>
                    <a:pt x="7" y="0"/>
                  </a:moveTo>
                  <a:cubicBezTo>
                    <a:pt x="6" y="2"/>
                    <a:pt x="2" y="2"/>
                    <a:pt x="0" y="3"/>
                  </a:cubicBezTo>
                  <a:cubicBezTo>
                    <a:pt x="0" y="4"/>
                    <a:pt x="0" y="5"/>
                    <a:pt x="0" y="6"/>
                  </a:cubicBezTo>
                  <a:cubicBezTo>
                    <a:pt x="3" y="8"/>
                    <a:pt x="12" y="5"/>
                    <a:pt x="14" y="4"/>
                  </a:cubicBezTo>
                  <a:cubicBezTo>
                    <a:pt x="14" y="0"/>
                    <a:pt x="8" y="2"/>
                    <a:pt x="7"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2" name="Freeform 178"/>
            <p:cNvSpPr>
              <a:spLocks/>
            </p:cNvSpPr>
            <p:nvPr/>
          </p:nvSpPr>
          <p:spPr bwMode="auto">
            <a:xfrm>
              <a:off x="7000375" y="4827272"/>
              <a:ext cx="68298" cy="21073"/>
            </a:xfrm>
            <a:custGeom>
              <a:avLst/>
              <a:gdLst>
                <a:gd name="T0" fmla="*/ 20 w 20"/>
                <a:gd name="T1" fmla="*/ 0 h 6"/>
                <a:gd name="T2" fmla="*/ 3 w 20"/>
                <a:gd name="T3" fmla="*/ 0 h 6"/>
                <a:gd name="T4" fmla="*/ 1 w 20"/>
                <a:gd name="T5" fmla="*/ 4 h 6"/>
                <a:gd name="T6" fmla="*/ 20 w 20"/>
                <a:gd name="T7" fmla="*/ 0 h 6"/>
              </a:gdLst>
              <a:ahLst/>
              <a:cxnLst>
                <a:cxn ang="0">
                  <a:pos x="T0" y="T1"/>
                </a:cxn>
                <a:cxn ang="0">
                  <a:pos x="T2" y="T3"/>
                </a:cxn>
                <a:cxn ang="0">
                  <a:pos x="T4" y="T5"/>
                </a:cxn>
                <a:cxn ang="0">
                  <a:pos x="T6" y="T7"/>
                </a:cxn>
              </a:cxnLst>
              <a:rect l="0" t="0" r="r" b="b"/>
              <a:pathLst>
                <a:path w="20" h="6">
                  <a:moveTo>
                    <a:pt x="20" y="0"/>
                  </a:moveTo>
                  <a:cubicBezTo>
                    <a:pt x="15" y="0"/>
                    <a:pt x="10" y="4"/>
                    <a:pt x="3" y="0"/>
                  </a:cubicBezTo>
                  <a:cubicBezTo>
                    <a:pt x="3" y="2"/>
                    <a:pt x="0" y="1"/>
                    <a:pt x="1" y="4"/>
                  </a:cubicBezTo>
                  <a:cubicBezTo>
                    <a:pt x="7" y="6"/>
                    <a:pt x="18" y="5"/>
                    <a:pt x="20"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3" name="Freeform 179"/>
            <p:cNvSpPr>
              <a:spLocks/>
            </p:cNvSpPr>
            <p:nvPr/>
          </p:nvSpPr>
          <p:spPr bwMode="auto">
            <a:xfrm>
              <a:off x="6894296" y="4822757"/>
              <a:ext cx="27610" cy="22579"/>
            </a:xfrm>
            <a:custGeom>
              <a:avLst/>
              <a:gdLst>
                <a:gd name="T0" fmla="*/ 8 w 8"/>
                <a:gd name="T1" fmla="*/ 1 h 6"/>
                <a:gd name="T2" fmla="*/ 0 w 8"/>
                <a:gd name="T3" fmla="*/ 2 h 6"/>
                <a:gd name="T4" fmla="*/ 8 w 8"/>
                <a:gd name="T5" fmla="*/ 1 h 6"/>
              </a:gdLst>
              <a:ahLst/>
              <a:cxnLst>
                <a:cxn ang="0">
                  <a:pos x="T0" y="T1"/>
                </a:cxn>
                <a:cxn ang="0">
                  <a:pos x="T2" y="T3"/>
                </a:cxn>
                <a:cxn ang="0">
                  <a:pos x="T4" y="T5"/>
                </a:cxn>
              </a:cxnLst>
              <a:rect l="0" t="0" r="r" b="b"/>
              <a:pathLst>
                <a:path w="8" h="6">
                  <a:moveTo>
                    <a:pt x="8" y="1"/>
                  </a:moveTo>
                  <a:cubicBezTo>
                    <a:pt x="5" y="0"/>
                    <a:pt x="2" y="0"/>
                    <a:pt x="0" y="2"/>
                  </a:cubicBezTo>
                  <a:cubicBezTo>
                    <a:pt x="3" y="4"/>
                    <a:pt x="7" y="6"/>
                    <a:pt x="8" y="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4" name="Freeform 180"/>
            <p:cNvSpPr>
              <a:spLocks/>
            </p:cNvSpPr>
            <p:nvPr/>
          </p:nvSpPr>
          <p:spPr bwMode="auto">
            <a:xfrm>
              <a:off x="7078845" y="4827272"/>
              <a:ext cx="72658" cy="45156"/>
            </a:xfrm>
            <a:custGeom>
              <a:avLst/>
              <a:gdLst>
                <a:gd name="T0" fmla="*/ 20 w 21"/>
                <a:gd name="T1" fmla="*/ 0 h 13"/>
                <a:gd name="T2" fmla="*/ 0 w 21"/>
                <a:gd name="T3" fmla="*/ 13 h 13"/>
                <a:gd name="T4" fmla="*/ 21 w 21"/>
                <a:gd name="T5" fmla="*/ 3 h 13"/>
                <a:gd name="T6" fmla="*/ 20 w 21"/>
                <a:gd name="T7" fmla="*/ 0 h 13"/>
              </a:gdLst>
              <a:ahLst/>
              <a:cxnLst>
                <a:cxn ang="0">
                  <a:pos x="T0" y="T1"/>
                </a:cxn>
                <a:cxn ang="0">
                  <a:pos x="T2" y="T3"/>
                </a:cxn>
                <a:cxn ang="0">
                  <a:pos x="T4" y="T5"/>
                </a:cxn>
                <a:cxn ang="0">
                  <a:pos x="T6" y="T7"/>
                </a:cxn>
              </a:cxnLst>
              <a:rect l="0" t="0" r="r" b="b"/>
              <a:pathLst>
                <a:path w="21" h="13">
                  <a:moveTo>
                    <a:pt x="20" y="0"/>
                  </a:moveTo>
                  <a:cubicBezTo>
                    <a:pt x="12" y="3"/>
                    <a:pt x="1" y="3"/>
                    <a:pt x="0" y="13"/>
                  </a:cubicBezTo>
                  <a:cubicBezTo>
                    <a:pt x="8" y="10"/>
                    <a:pt x="13" y="5"/>
                    <a:pt x="21" y="3"/>
                  </a:cubicBezTo>
                  <a:cubicBezTo>
                    <a:pt x="21" y="1"/>
                    <a:pt x="21" y="1"/>
                    <a:pt x="20"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5" name="Freeform 181"/>
            <p:cNvSpPr>
              <a:spLocks/>
            </p:cNvSpPr>
            <p:nvPr/>
          </p:nvSpPr>
          <p:spPr bwMode="auto">
            <a:xfrm>
              <a:off x="6985845" y="4848345"/>
              <a:ext cx="34875" cy="28599"/>
            </a:xfrm>
            <a:custGeom>
              <a:avLst/>
              <a:gdLst>
                <a:gd name="T0" fmla="*/ 10 w 10"/>
                <a:gd name="T1" fmla="*/ 6 h 8"/>
                <a:gd name="T2" fmla="*/ 0 w 10"/>
                <a:gd name="T3" fmla="*/ 2 h 8"/>
                <a:gd name="T4" fmla="*/ 10 w 10"/>
                <a:gd name="T5" fmla="*/ 6 h 8"/>
              </a:gdLst>
              <a:ahLst/>
              <a:cxnLst>
                <a:cxn ang="0">
                  <a:pos x="T0" y="T1"/>
                </a:cxn>
                <a:cxn ang="0">
                  <a:pos x="T2" y="T3"/>
                </a:cxn>
                <a:cxn ang="0">
                  <a:pos x="T4" y="T5"/>
                </a:cxn>
              </a:cxnLst>
              <a:rect l="0" t="0" r="r" b="b"/>
              <a:pathLst>
                <a:path w="10" h="8">
                  <a:moveTo>
                    <a:pt x="10" y="6"/>
                  </a:moveTo>
                  <a:cubicBezTo>
                    <a:pt x="10" y="2"/>
                    <a:pt x="4" y="0"/>
                    <a:pt x="0" y="2"/>
                  </a:cubicBezTo>
                  <a:cubicBezTo>
                    <a:pt x="2" y="4"/>
                    <a:pt x="7" y="8"/>
                    <a:pt x="10" y="6"/>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6" name="Freeform 182"/>
            <p:cNvSpPr>
              <a:spLocks/>
            </p:cNvSpPr>
            <p:nvPr/>
          </p:nvSpPr>
          <p:spPr bwMode="auto">
            <a:xfrm>
              <a:off x="6866686" y="4879954"/>
              <a:ext cx="819574" cy="657762"/>
            </a:xfrm>
            <a:custGeom>
              <a:avLst/>
              <a:gdLst>
                <a:gd name="T0" fmla="*/ 221 w 239"/>
                <a:gd name="T1" fmla="*/ 77 h 185"/>
                <a:gd name="T2" fmla="*/ 221 w 239"/>
                <a:gd name="T3" fmla="*/ 72 h 185"/>
                <a:gd name="T4" fmla="*/ 214 w 239"/>
                <a:gd name="T5" fmla="*/ 69 h 185"/>
                <a:gd name="T6" fmla="*/ 209 w 239"/>
                <a:gd name="T7" fmla="*/ 56 h 185"/>
                <a:gd name="T8" fmla="*/ 189 w 239"/>
                <a:gd name="T9" fmla="*/ 24 h 185"/>
                <a:gd name="T10" fmla="*/ 180 w 239"/>
                <a:gd name="T11" fmla="*/ 21 h 185"/>
                <a:gd name="T12" fmla="*/ 170 w 239"/>
                <a:gd name="T13" fmla="*/ 0 h 185"/>
                <a:gd name="T14" fmla="*/ 158 w 239"/>
                <a:gd name="T15" fmla="*/ 41 h 185"/>
                <a:gd name="T16" fmla="*/ 132 w 239"/>
                <a:gd name="T17" fmla="*/ 24 h 185"/>
                <a:gd name="T18" fmla="*/ 134 w 239"/>
                <a:gd name="T19" fmla="*/ 16 h 185"/>
                <a:gd name="T20" fmla="*/ 141 w 239"/>
                <a:gd name="T21" fmla="*/ 9 h 185"/>
                <a:gd name="T22" fmla="*/ 128 w 239"/>
                <a:gd name="T23" fmla="*/ 6 h 185"/>
                <a:gd name="T24" fmla="*/ 111 w 239"/>
                <a:gd name="T25" fmla="*/ 3 h 185"/>
                <a:gd name="T26" fmla="*/ 114 w 239"/>
                <a:gd name="T27" fmla="*/ 8 h 185"/>
                <a:gd name="T28" fmla="*/ 105 w 239"/>
                <a:gd name="T29" fmla="*/ 8 h 185"/>
                <a:gd name="T30" fmla="*/ 97 w 239"/>
                <a:gd name="T31" fmla="*/ 25 h 185"/>
                <a:gd name="T32" fmla="*/ 89 w 239"/>
                <a:gd name="T33" fmla="*/ 24 h 185"/>
                <a:gd name="T34" fmla="*/ 81 w 239"/>
                <a:gd name="T35" fmla="*/ 17 h 185"/>
                <a:gd name="T36" fmla="*/ 71 w 239"/>
                <a:gd name="T37" fmla="*/ 23 h 185"/>
                <a:gd name="T38" fmla="*/ 66 w 239"/>
                <a:gd name="T39" fmla="*/ 32 h 185"/>
                <a:gd name="T40" fmla="*/ 62 w 239"/>
                <a:gd name="T41" fmla="*/ 32 h 185"/>
                <a:gd name="T42" fmla="*/ 60 w 239"/>
                <a:gd name="T43" fmla="*/ 37 h 185"/>
                <a:gd name="T44" fmla="*/ 57 w 239"/>
                <a:gd name="T45" fmla="*/ 33 h 185"/>
                <a:gd name="T46" fmla="*/ 54 w 239"/>
                <a:gd name="T47" fmla="*/ 44 h 185"/>
                <a:gd name="T48" fmla="*/ 35 w 239"/>
                <a:gd name="T49" fmla="*/ 55 h 185"/>
                <a:gd name="T50" fmla="*/ 8 w 239"/>
                <a:gd name="T51" fmla="*/ 69 h 185"/>
                <a:gd name="T52" fmla="*/ 5 w 239"/>
                <a:gd name="T53" fmla="*/ 68 h 185"/>
                <a:gd name="T54" fmla="*/ 7 w 239"/>
                <a:gd name="T55" fmla="*/ 94 h 185"/>
                <a:gd name="T56" fmla="*/ 2 w 239"/>
                <a:gd name="T57" fmla="*/ 88 h 185"/>
                <a:gd name="T58" fmla="*/ 0 w 239"/>
                <a:gd name="T59" fmla="*/ 96 h 185"/>
                <a:gd name="T60" fmla="*/ 15 w 239"/>
                <a:gd name="T61" fmla="*/ 144 h 185"/>
                <a:gd name="T62" fmla="*/ 12 w 239"/>
                <a:gd name="T63" fmla="*/ 144 h 185"/>
                <a:gd name="T64" fmla="*/ 12 w 239"/>
                <a:gd name="T65" fmla="*/ 151 h 185"/>
                <a:gd name="T66" fmla="*/ 31 w 239"/>
                <a:gd name="T67" fmla="*/ 156 h 185"/>
                <a:gd name="T68" fmla="*/ 63 w 239"/>
                <a:gd name="T69" fmla="*/ 148 h 185"/>
                <a:gd name="T70" fmla="*/ 108 w 239"/>
                <a:gd name="T71" fmla="*/ 132 h 185"/>
                <a:gd name="T72" fmla="*/ 123 w 239"/>
                <a:gd name="T73" fmla="*/ 137 h 185"/>
                <a:gd name="T74" fmla="*/ 123 w 239"/>
                <a:gd name="T75" fmla="*/ 143 h 185"/>
                <a:gd name="T76" fmla="*/ 134 w 239"/>
                <a:gd name="T77" fmla="*/ 157 h 185"/>
                <a:gd name="T78" fmla="*/ 146 w 239"/>
                <a:gd name="T79" fmla="*/ 142 h 185"/>
                <a:gd name="T80" fmla="*/ 143 w 239"/>
                <a:gd name="T81" fmla="*/ 154 h 185"/>
                <a:gd name="T82" fmla="*/ 139 w 239"/>
                <a:gd name="T83" fmla="*/ 154 h 185"/>
                <a:gd name="T84" fmla="*/ 139 w 239"/>
                <a:gd name="T85" fmla="*/ 158 h 185"/>
                <a:gd name="T86" fmla="*/ 145 w 239"/>
                <a:gd name="T87" fmla="*/ 158 h 185"/>
                <a:gd name="T88" fmla="*/ 148 w 239"/>
                <a:gd name="T89" fmla="*/ 152 h 185"/>
                <a:gd name="T90" fmla="*/ 147 w 239"/>
                <a:gd name="T91" fmla="*/ 161 h 185"/>
                <a:gd name="T92" fmla="*/ 153 w 239"/>
                <a:gd name="T93" fmla="*/ 159 h 185"/>
                <a:gd name="T94" fmla="*/ 156 w 239"/>
                <a:gd name="T95" fmla="*/ 173 h 185"/>
                <a:gd name="T96" fmla="*/ 178 w 239"/>
                <a:gd name="T97" fmla="*/ 183 h 185"/>
                <a:gd name="T98" fmla="*/ 186 w 239"/>
                <a:gd name="T99" fmla="*/ 177 h 185"/>
                <a:gd name="T100" fmla="*/ 194 w 239"/>
                <a:gd name="T101" fmla="*/ 185 h 185"/>
                <a:gd name="T102" fmla="*/ 216 w 239"/>
                <a:gd name="T103" fmla="*/ 173 h 185"/>
                <a:gd name="T104" fmla="*/ 224 w 239"/>
                <a:gd name="T105" fmla="*/ 143 h 185"/>
                <a:gd name="T106" fmla="*/ 230 w 239"/>
                <a:gd name="T107" fmla="*/ 139 h 185"/>
                <a:gd name="T108" fmla="*/ 234 w 239"/>
                <a:gd name="T109" fmla="*/ 102 h 185"/>
                <a:gd name="T110" fmla="*/ 221 w 239"/>
                <a:gd name="T111"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39" h="185">
                  <a:moveTo>
                    <a:pt x="221" y="77"/>
                  </a:moveTo>
                  <a:cubicBezTo>
                    <a:pt x="221" y="75"/>
                    <a:pt x="221" y="74"/>
                    <a:pt x="221" y="72"/>
                  </a:cubicBezTo>
                  <a:cubicBezTo>
                    <a:pt x="219" y="70"/>
                    <a:pt x="215" y="69"/>
                    <a:pt x="214" y="69"/>
                  </a:cubicBezTo>
                  <a:cubicBezTo>
                    <a:pt x="214" y="63"/>
                    <a:pt x="208" y="62"/>
                    <a:pt x="209" y="56"/>
                  </a:cubicBezTo>
                  <a:cubicBezTo>
                    <a:pt x="193" y="53"/>
                    <a:pt x="192" y="40"/>
                    <a:pt x="189" y="24"/>
                  </a:cubicBezTo>
                  <a:cubicBezTo>
                    <a:pt x="184" y="24"/>
                    <a:pt x="185" y="18"/>
                    <a:pt x="180" y="21"/>
                  </a:cubicBezTo>
                  <a:cubicBezTo>
                    <a:pt x="178" y="13"/>
                    <a:pt x="178" y="2"/>
                    <a:pt x="170" y="0"/>
                  </a:cubicBezTo>
                  <a:cubicBezTo>
                    <a:pt x="161" y="13"/>
                    <a:pt x="172" y="32"/>
                    <a:pt x="158" y="41"/>
                  </a:cubicBezTo>
                  <a:cubicBezTo>
                    <a:pt x="150" y="34"/>
                    <a:pt x="139" y="31"/>
                    <a:pt x="132" y="24"/>
                  </a:cubicBezTo>
                  <a:cubicBezTo>
                    <a:pt x="134" y="22"/>
                    <a:pt x="136" y="19"/>
                    <a:pt x="134" y="16"/>
                  </a:cubicBezTo>
                  <a:cubicBezTo>
                    <a:pt x="139" y="16"/>
                    <a:pt x="139" y="11"/>
                    <a:pt x="141" y="9"/>
                  </a:cubicBezTo>
                  <a:cubicBezTo>
                    <a:pt x="138" y="4"/>
                    <a:pt x="130" y="11"/>
                    <a:pt x="128" y="6"/>
                  </a:cubicBezTo>
                  <a:cubicBezTo>
                    <a:pt x="121" y="10"/>
                    <a:pt x="116" y="1"/>
                    <a:pt x="111" y="3"/>
                  </a:cubicBezTo>
                  <a:cubicBezTo>
                    <a:pt x="110" y="8"/>
                    <a:pt x="114" y="3"/>
                    <a:pt x="114" y="8"/>
                  </a:cubicBezTo>
                  <a:cubicBezTo>
                    <a:pt x="112" y="10"/>
                    <a:pt x="107" y="8"/>
                    <a:pt x="105" y="8"/>
                  </a:cubicBezTo>
                  <a:cubicBezTo>
                    <a:pt x="102" y="13"/>
                    <a:pt x="93" y="18"/>
                    <a:pt x="97" y="25"/>
                  </a:cubicBezTo>
                  <a:cubicBezTo>
                    <a:pt x="96" y="24"/>
                    <a:pt x="91" y="22"/>
                    <a:pt x="89" y="24"/>
                  </a:cubicBezTo>
                  <a:cubicBezTo>
                    <a:pt x="88" y="20"/>
                    <a:pt x="85" y="18"/>
                    <a:pt x="81" y="17"/>
                  </a:cubicBezTo>
                  <a:cubicBezTo>
                    <a:pt x="79" y="19"/>
                    <a:pt x="76" y="21"/>
                    <a:pt x="71" y="23"/>
                  </a:cubicBezTo>
                  <a:cubicBezTo>
                    <a:pt x="73" y="29"/>
                    <a:pt x="64" y="25"/>
                    <a:pt x="66" y="32"/>
                  </a:cubicBezTo>
                  <a:cubicBezTo>
                    <a:pt x="65" y="32"/>
                    <a:pt x="63" y="32"/>
                    <a:pt x="62" y="32"/>
                  </a:cubicBezTo>
                  <a:cubicBezTo>
                    <a:pt x="60" y="34"/>
                    <a:pt x="63" y="37"/>
                    <a:pt x="60" y="37"/>
                  </a:cubicBezTo>
                  <a:cubicBezTo>
                    <a:pt x="60" y="35"/>
                    <a:pt x="60" y="33"/>
                    <a:pt x="57" y="33"/>
                  </a:cubicBezTo>
                  <a:cubicBezTo>
                    <a:pt x="56" y="37"/>
                    <a:pt x="51" y="39"/>
                    <a:pt x="54" y="44"/>
                  </a:cubicBezTo>
                  <a:cubicBezTo>
                    <a:pt x="47" y="47"/>
                    <a:pt x="45" y="58"/>
                    <a:pt x="35" y="55"/>
                  </a:cubicBezTo>
                  <a:cubicBezTo>
                    <a:pt x="27" y="60"/>
                    <a:pt x="13" y="61"/>
                    <a:pt x="8" y="69"/>
                  </a:cubicBezTo>
                  <a:cubicBezTo>
                    <a:pt x="7" y="68"/>
                    <a:pt x="6" y="68"/>
                    <a:pt x="5" y="68"/>
                  </a:cubicBezTo>
                  <a:cubicBezTo>
                    <a:pt x="3" y="77"/>
                    <a:pt x="0" y="87"/>
                    <a:pt x="7" y="94"/>
                  </a:cubicBezTo>
                  <a:cubicBezTo>
                    <a:pt x="4" y="93"/>
                    <a:pt x="4" y="90"/>
                    <a:pt x="2" y="88"/>
                  </a:cubicBezTo>
                  <a:cubicBezTo>
                    <a:pt x="3" y="93"/>
                    <a:pt x="0" y="92"/>
                    <a:pt x="0" y="96"/>
                  </a:cubicBezTo>
                  <a:cubicBezTo>
                    <a:pt x="8" y="108"/>
                    <a:pt x="15" y="125"/>
                    <a:pt x="15" y="144"/>
                  </a:cubicBezTo>
                  <a:cubicBezTo>
                    <a:pt x="13" y="145"/>
                    <a:pt x="14" y="144"/>
                    <a:pt x="12" y="144"/>
                  </a:cubicBezTo>
                  <a:cubicBezTo>
                    <a:pt x="12" y="146"/>
                    <a:pt x="12" y="149"/>
                    <a:pt x="12" y="151"/>
                  </a:cubicBezTo>
                  <a:cubicBezTo>
                    <a:pt x="18" y="153"/>
                    <a:pt x="21" y="158"/>
                    <a:pt x="31" y="156"/>
                  </a:cubicBezTo>
                  <a:cubicBezTo>
                    <a:pt x="37" y="147"/>
                    <a:pt x="51" y="149"/>
                    <a:pt x="63" y="148"/>
                  </a:cubicBezTo>
                  <a:cubicBezTo>
                    <a:pt x="71" y="135"/>
                    <a:pt x="89" y="134"/>
                    <a:pt x="108" y="132"/>
                  </a:cubicBezTo>
                  <a:cubicBezTo>
                    <a:pt x="112" y="136"/>
                    <a:pt x="117" y="135"/>
                    <a:pt x="123" y="137"/>
                  </a:cubicBezTo>
                  <a:cubicBezTo>
                    <a:pt x="122" y="140"/>
                    <a:pt x="122" y="140"/>
                    <a:pt x="123" y="143"/>
                  </a:cubicBezTo>
                  <a:cubicBezTo>
                    <a:pt x="131" y="143"/>
                    <a:pt x="128" y="154"/>
                    <a:pt x="134" y="157"/>
                  </a:cubicBezTo>
                  <a:cubicBezTo>
                    <a:pt x="135" y="150"/>
                    <a:pt x="143" y="145"/>
                    <a:pt x="146" y="142"/>
                  </a:cubicBezTo>
                  <a:cubicBezTo>
                    <a:pt x="144" y="145"/>
                    <a:pt x="142" y="148"/>
                    <a:pt x="143" y="154"/>
                  </a:cubicBezTo>
                  <a:cubicBezTo>
                    <a:pt x="142" y="154"/>
                    <a:pt x="141" y="154"/>
                    <a:pt x="139" y="154"/>
                  </a:cubicBezTo>
                  <a:cubicBezTo>
                    <a:pt x="140" y="155"/>
                    <a:pt x="139" y="157"/>
                    <a:pt x="139" y="158"/>
                  </a:cubicBezTo>
                  <a:cubicBezTo>
                    <a:pt x="140" y="159"/>
                    <a:pt x="142" y="157"/>
                    <a:pt x="145" y="158"/>
                  </a:cubicBezTo>
                  <a:cubicBezTo>
                    <a:pt x="145" y="155"/>
                    <a:pt x="146" y="153"/>
                    <a:pt x="148" y="152"/>
                  </a:cubicBezTo>
                  <a:cubicBezTo>
                    <a:pt x="150" y="155"/>
                    <a:pt x="146" y="157"/>
                    <a:pt x="147" y="161"/>
                  </a:cubicBezTo>
                  <a:cubicBezTo>
                    <a:pt x="149" y="161"/>
                    <a:pt x="151" y="160"/>
                    <a:pt x="153" y="159"/>
                  </a:cubicBezTo>
                  <a:cubicBezTo>
                    <a:pt x="154" y="163"/>
                    <a:pt x="157" y="166"/>
                    <a:pt x="156" y="173"/>
                  </a:cubicBezTo>
                  <a:cubicBezTo>
                    <a:pt x="161" y="180"/>
                    <a:pt x="169" y="180"/>
                    <a:pt x="178" y="183"/>
                  </a:cubicBezTo>
                  <a:cubicBezTo>
                    <a:pt x="181" y="182"/>
                    <a:pt x="187" y="180"/>
                    <a:pt x="186" y="177"/>
                  </a:cubicBezTo>
                  <a:cubicBezTo>
                    <a:pt x="189" y="180"/>
                    <a:pt x="191" y="183"/>
                    <a:pt x="194" y="185"/>
                  </a:cubicBezTo>
                  <a:cubicBezTo>
                    <a:pt x="199" y="179"/>
                    <a:pt x="208" y="177"/>
                    <a:pt x="216" y="173"/>
                  </a:cubicBezTo>
                  <a:cubicBezTo>
                    <a:pt x="214" y="159"/>
                    <a:pt x="224" y="156"/>
                    <a:pt x="224" y="143"/>
                  </a:cubicBezTo>
                  <a:cubicBezTo>
                    <a:pt x="226" y="141"/>
                    <a:pt x="228" y="140"/>
                    <a:pt x="230" y="139"/>
                  </a:cubicBezTo>
                  <a:cubicBezTo>
                    <a:pt x="233" y="128"/>
                    <a:pt x="239" y="114"/>
                    <a:pt x="234" y="102"/>
                  </a:cubicBezTo>
                  <a:cubicBezTo>
                    <a:pt x="236" y="87"/>
                    <a:pt x="227" y="83"/>
                    <a:pt x="221"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7" name="Freeform 183"/>
            <p:cNvSpPr>
              <a:spLocks/>
            </p:cNvSpPr>
            <p:nvPr/>
          </p:nvSpPr>
          <p:spPr bwMode="auto">
            <a:xfrm>
              <a:off x="5465853" y="4908552"/>
              <a:ext cx="164206" cy="298024"/>
            </a:xfrm>
            <a:custGeom>
              <a:avLst/>
              <a:gdLst>
                <a:gd name="T0" fmla="*/ 37 w 48"/>
                <a:gd name="T1" fmla="*/ 0 h 84"/>
                <a:gd name="T2" fmla="*/ 33 w 48"/>
                <a:gd name="T3" fmla="*/ 10 h 84"/>
                <a:gd name="T4" fmla="*/ 31 w 48"/>
                <a:gd name="T5" fmla="*/ 8 h 84"/>
                <a:gd name="T6" fmla="*/ 30 w 48"/>
                <a:gd name="T7" fmla="*/ 16 h 84"/>
                <a:gd name="T8" fmla="*/ 11 w 48"/>
                <a:gd name="T9" fmla="*/ 24 h 84"/>
                <a:gd name="T10" fmla="*/ 8 w 48"/>
                <a:gd name="T11" fmla="*/ 33 h 84"/>
                <a:gd name="T12" fmla="*/ 7 w 48"/>
                <a:gd name="T13" fmla="*/ 69 h 84"/>
                <a:gd name="T14" fmla="*/ 6 w 48"/>
                <a:gd name="T15" fmla="*/ 74 h 84"/>
                <a:gd name="T16" fmla="*/ 9 w 48"/>
                <a:gd name="T17" fmla="*/ 80 h 84"/>
                <a:gd name="T18" fmla="*/ 17 w 48"/>
                <a:gd name="T19" fmla="*/ 84 h 84"/>
                <a:gd name="T20" fmla="*/ 26 w 48"/>
                <a:gd name="T21" fmla="*/ 80 h 84"/>
                <a:gd name="T22" fmla="*/ 43 w 48"/>
                <a:gd name="T23" fmla="*/ 25 h 84"/>
                <a:gd name="T24" fmla="*/ 41 w 48"/>
                <a:gd name="T25" fmla="*/ 20 h 84"/>
                <a:gd name="T26" fmla="*/ 45 w 48"/>
                <a:gd name="T27" fmla="*/ 24 h 84"/>
                <a:gd name="T28" fmla="*/ 37 w 48"/>
                <a:gd name="T29"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84">
                  <a:moveTo>
                    <a:pt x="37" y="0"/>
                  </a:moveTo>
                  <a:cubicBezTo>
                    <a:pt x="37" y="3"/>
                    <a:pt x="37" y="8"/>
                    <a:pt x="33" y="10"/>
                  </a:cubicBezTo>
                  <a:cubicBezTo>
                    <a:pt x="33" y="9"/>
                    <a:pt x="33" y="8"/>
                    <a:pt x="31" y="8"/>
                  </a:cubicBezTo>
                  <a:cubicBezTo>
                    <a:pt x="32" y="12"/>
                    <a:pt x="28" y="12"/>
                    <a:pt x="30" y="16"/>
                  </a:cubicBezTo>
                  <a:cubicBezTo>
                    <a:pt x="24" y="18"/>
                    <a:pt x="20" y="23"/>
                    <a:pt x="11" y="24"/>
                  </a:cubicBezTo>
                  <a:cubicBezTo>
                    <a:pt x="12" y="29"/>
                    <a:pt x="8" y="30"/>
                    <a:pt x="8" y="33"/>
                  </a:cubicBezTo>
                  <a:cubicBezTo>
                    <a:pt x="18" y="46"/>
                    <a:pt x="0" y="56"/>
                    <a:pt x="7" y="69"/>
                  </a:cubicBezTo>
                  <a:cubicBezTo>
                    <a:pt x="7" y="71"/>
                    <a:pt x="5" y="71"/>
                    <a:pt x="6" y="74"/>
                  </a:cubicBezTo>
                  <a:cubicBezTo>
                    <a:pt x="8" y="75"/>
                    <a:pt x="8" y="78"/>
                    <a:pt x="9" y="80"/>
                  </a:cubicBezTo>
                  <a:cubicBezTo>
                    <a:pt x="12" y="81"/>
                    <a:pt x="14" y="83"/>
                    <a:pt x="17" y="84"/>
                  </a:cubicBezTo>
                  <a:cubicBezTo>
                    <a:pt x="19" y="82"/>
                    <a:pt x="21" y="80"/>
                    <a:pt x="26" y="80"/>
                  </a:cubicBezTo>
                  <a:cubicBezTo>
                    <a:pt x="33" y="64"/>
                    <a:pt x="37" y="43"/>
                    <a:pt x="43" y="25"/>
                  </a:cubicBezTo>
                  <a:cubicBezTo>
                    <a:pt x="42" y="23"/>
                    <a:pt x="41" y="23"/>
                    <a:pt x="41" y="20"/>
                  </a:cubicBezTo>
                  <a:cubicBezTo>
                    <a:pt x="43" y="21"/>
                    <a:pt x="43" y="23"/>
                    <a:pt x="45" y="24"/>
                  </a:cubicBezTo>
                  <a:cubicBezTo>
                    <a:pt x="48" y="18"/>
                    <a:pt x="45" y="3"/>
                    <a:pt x="37"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8" name="Freeform 184"/>
            <p:cNvSpPr>
              <a:spLocks/>
            </p:cNvSpPr>
            <p:nvPr/>
          </p:nvSpPr>
          <p:spPr bwMode="auto">
            <a:xfrm>
              <a:off x="8053906" y="5409775"/>
              <a:ext cx="127877" cy="195673"/>
            </a:xfrm>
            <a:custGeom>
              <a:avLst/>
              <a:gdLst>
                <a:gd name="T0" fmla="*/ 28 w 37"/>
                <a:gd name="T1" fmla="*/ 28 h 55"/>
                <a:gd name="T2" fmla="*/ 20 w 37"/>
                <a:gd name="T3" fmla="*/ 19 h 55"/>
                <a:gd name="T4" fmla="*/ 15 w 37"/>
                <a:gd name="T5" fmla="*/ 19 h 55"/>
                <a:gd name="T6" fmla="*/ 13 w 37"/>
                <a:gd name="T7" fmla="*/ 9 h 55"/>
                <a:gd name="T8" fmla="*/ 4 w 37"/>
                <a:gd name="T9" fmla="*/ 1 h 55"/>
                <a:gd name="T10" fmla="*/ 0 w 37"/>
                <a:gd name="T11" fmla="*/ 2 h 55"/>
                <a:gd name="T12" fmla="*/ 8 w 37"/>
                <a:gd name="T13" fmla="*/ 38 h 55"/>
                <a:gd name="T14" fmla="*/ 17 w 37"/>
                <a:gd name="T15" fmla="*/ 46 h 55"/>
                <a:gd name="T16" fmla="*/ 16 w 37"/>
                <a:gd name="T17" fmla="*/ 55 h 55"/>
                <a:gd name="T18" fmla="*/ 27 w 37"/>
                <a:gd name="T19" fmla="*/ 37 h 55"/>
                <a:gd name="T20" fmla="*/ 36 w 37"/>
                <a:gd name="T21" fmla="*/ 25 h 55"/>
                <a:gd name="T22" fmla="*/ 28 w 37"/>
                <a:gd name="T23"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55">
                  <a:moveTo>
                    <a:pt x="28" y="28"/>
                  </a:moveTo>
                  <a:cubicBezTo>
                    <a:pt x="24" y="26"/>
                    <a:pt x="21" y="23"/>
                    <a:pt x="20" y="19"/>
                  </a:cubicBezTo>
                  <a:cubicBezTo>
                    <a:pt x="16" y="18"/>
                    <a:pt x="18" y="21"/>
                    <a:pt x="15" y="19"/>
                  </a:cubicBezTo>
                  <a:cubicBezTo>
                    <a:pt x="15" y="16"/>
                    <a:pt x="13" y="14"/>
                    <a:pt x="13" y="9"/>
                  </a:cubicBezTo>
                  <a:cubicBezTo>
                    <a:pt x="11" y="5"/>
                    <a:pt x="4" y="7"/>
                    <a:pt x="4" y="1"/>
                  </a:cubicBezTo>
                  <a:cubicBezTo>
                    <a:pt x="3" y="2"/>
                    <a:pt x="0" y="0"/>
                    <a:pt x="0" y="2"/>
                  </a:cubicBezTo>
                  <a:cubicBezTo>
                    <a:pt x="6" y="11"/>
                    <a:pt x="21" y="27"/>
                    <a:pt x="8" y="38"/>
                  </a:cubicBezTo>
                  <a:cubicBezTo>
                    <a:pt x="9" y="42"/>
                    <a:pt x="16" y="40"/>
                    <a:pt x="17" y="46"/>
                  </a:cubicBezTo>
                  <a:cubicBezTo>
                    <a:pt x="14" y="49"/>
                    <a:pt x="13" y="52"/>
                    <a:pt x="16" y="55"/>
                  </a:cubicBezTo>
                  <a:cubicBezTo>
                    <a:pt x="23" y="52"/>
                    <a:pt x="27" y="46"/>
                    <a:pt x="27" y="37"/>
                  </a:cubicBezTo>
                  <a:cubicBezTo>
                    <a:pt x="33" y="36"/>
                    <a:pt x="37" y="30"/>
                    <a:pt x="36" y="25"/>
                  </a:cubicBezTo>
                  <a:cubicBezTo>
                    <a:pt x="31" y="24"/>
                    <a:pt x="31" y="27"/>
                    <a:pt x="28" y="28"/>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9" name="Freeform 185"/>
            <p:cNvSpPr>
              <a:spLocks/>
            </p:cNvSpPr>
            <p:nvPr/>
          </p:nvSpPr>
          <p:spPr bwMode="auto">
            <a:xfrm>
              <a:off x="7497351" y="5576850"/>
              <a:ext cx="90095" cy="85796"/>
            </a:xfrm>
            <a:custGeom>
              <a:avLst/>
              <a:gdLst>
                <a:gd name="T0" fmla="*/ 0 w 26"/>
                <a:gd name="T1" fmla="*/ 0 h 24"/>
                <a:gd name="T2" fmla="*/ 13 w 26"/>
                <a:gd name="T3" fmla="*/ 24 h 24"/>
                <a:gd name="T4" fmla="*/ 21 w 26"/>
                <a:gd name="T5" fmla="*/ 1 h 24"/>
                <a:gd name="T6" fmla="*/ 0 w 26"/>
                <a:gd name="T7" fmla="*/ 0 h 24"/>
              </a:gdLst>
              <a:ahLst/>
              <a:cxnLst>
                <a:cxn ang="0">
                  <a:pos x="T0" y="T1"/>
                </a:cxn>
                <a:cxn ang="0">
                  <a:pos x="T2" y="T3"/>
                </a:cxn>
                <a:cxn ang="0">
                  <a:pos x="T4" y="T5"/>
                </a:cxn>
                <a:cxn ang="0">
                  <a:pos x="T6" y="T7"/>
                </a:cxn>
              </a:cxnLst>
              <a:rect l="0" t="0" r="r" b="b"/>
              <a:pathLst>
                <a:path w="26" h="24">
                  <a:moveTo>
                    <a:pt x="0" y="0"/>
                  </a:moveTo>
                  <a:cubicBezTo>
                    <a:pt x="3" y="11"/>
                    <a:pt x="2" y="21"/>
                    <a:pt x="13" y="24"/>
                  </a:cubicBezTo>
                  <a:cubicBezTo>
                    <a:pt x="18" y="19"/>
                    <a:pt x="26" y="11"/>
                    <a:pt x="21" y="1"/>
                  </a:cubicBezTo>
                  <a:cubicBezTo>
                    <a:pt x="14" y="5"/>
                    <a:pt x="7" y="3"/>
                    <a:pt x="0"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0" name="Freeform 186"/>
            <p:cNvSpPr>
              <a:spLocks/>
            </p:cNvSpPr>
            <p:nvPr/>
          </p:nvSpPr>
          <p:spPr bwMode="auto">
            <a:xfrm>
              <a:off x="7933295" y="5576850"/>
              <a:ext cx="168565" cy="174600"/>
            </a:xfrm>
            <a:custGeom>
              <a:avLst/>
              <a:gdLst>
                <a:gd name="T0" fmla="*/ 39 w 49"/>
                <a:gd name="T1" fmla="*/ 5 h 49"/>
                <a:gd name="T2" fmla="*/ 34 w 49"/>
                <a:gd name="T3" fmla="*/ 0 h 49"/>
                <a:gd name="T4" fmla="*/ 29 w 49"/>
                <a:gd name="T5" fmla="*/ 10 h 49"/>
                <a:gd name="T6" fmla="*/ 0 w 49"/>
                <a:gd name="T7" fmla="*/ 45 h 49"/>
                <a:gd name="T8" fmla="*/ 17 w 49"/>
                <a:gd name="T9" fmla="*/ 49 h 49"/>
                <a:gd name="T10" fmla="*/ 39 w 49"/>
                <a:gd name="T11" fmla="*/ 26 h 49"/>
                <a:gd name="T12" fmla="*/ 36 w 49"/>
                <a:gd name="T13" fmla="*/ 21 h 49"/>
                <a:gd name="T14" fmla="*/ 44 w 49"/>
                <a:gd name="T15" fmla="*/ 4 h 49"/>
                <a:gd name="T16" fmla="*/ 39 w 49"/>
                <a:gd name="T17" fmla="*/ 5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49">
                  <a:moveTo>
                    <a:pt x="39" y="5"/>
                  </a:moveTo>
                  <a:cubicBezTo>
                    <a:pt x="39" y="3"/>
                    <a:pt x="38" y="0"/>
                    <a:pt x="34" y="0"/>
                  </a:cubicBezTo>
                  <a:cubicBezTo>
                    <a:pt x="32" y="4"/>
                    <a:pt x="33" y="9"/>
                    <a:pt x="29" y="10"/>
                  </a:cubicBezTo>
                  <a:cubicBezTo>
                    <a:pt x="25" y="26"/>
                    <a:pt x="1" y="27"/>
                    <a:pt x="0" y="45"/>
                  </a:cubicBezTo>
                  <a:cubicBezTo>
                    <a:pt x="7" y="45"/>
                    <a:pt x="10" y="48"/>
                    <a:pt x="17" y="49"/>
                  </a:cubicBezTo>
                  <a:cubicBezTo>
                    <a:pt x="29" y="47"/>
                    <a:pt x="24" y="23"/>
                    <a:pt x="39" y="26"/>
                  </a:cubicBezTo>
                  <a:cubicBezTo>
                    <a:pt x="39" y="23"/>
                    <a:pt x="36" y="24"/>
                    <a:pt x="36" y="21"/>
                  </a:cubicBezTo>
                  <a:cubicBezTo>
                    <a:pt x="42" y="18"/>
                    <a:pt x="49" y="10"/>
                    <a:pt x="44" y="4"/>
                  </a:cubicBezTo>
                  <a:cubicBezTo>
                    <a:pt x="41" y="3"/>
                    <a:pt x="42" y="6"/>
                    <a:pt x="39" y="5"/>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1" name="Freeform 187"/>
            <p:cNvSpPr>
              <a:spLocks noEditPoints="1"/>
            </p:cNvSpPr>
            <p:nvPr/>
          </p:nvSpPr>
          <p:spPr bwMode="auto">
            <a:xfrm>
              <a:off x="1260450" y="2458126"/>
              <a:ext cx="2681053" cy="3562749"/>
            </a:xfrm>
            <a:custGeom>
              <a:avLst/>
              <a:gdLst>
                <a:gd name="T0" fmla="*/ 677 w 781"/>
                <a:gd name="T1" fmla="*/ 624 h 1002"/>
                <a:gd name="T2" fmla="*/ 628 w 781"/>
                <a:gd name="T3" fmla="*/ 562 h 1002"/>
                <a:gd name="T4" fmla="*/ 562 w 781"/>
                <a:gd name="T5" fmla="*/ 551 h 1002"/>
                <a:gd name="T6" fmla="*/ 495 w 781"/>
                <a:gd name="T7" fmla="*/ 529 h 1002"/>
                <a:gd name="T8" fmla="*/ 415 w 781"/>
                <a:gd name="T9" fmla="*/ 464 h 1002"/>
                <a:gd name="T10" fmla="*/ 496 w 781"/>
                <a:gd name="T11" fmla="*/ 443 h 1002"/>
                <a:gd name="T12" fmla="*/ 538 w 781"/>
                <a:gd name="T13" fmla="*/ 386 h 1002"/>
                <a:gd name="T14" fmla="*/ 593 w 781"/>
                <a:gd name="T15" fmla="*/ 328 h 1002"/>
                <a:gd name="T16" fmla="*/ 621 w 781"/>
                <a:gd name="T17" fmla="*/ 318 h 1002"/>
                <a:gd name="T18" fmla="*/ 593 w 781"/>
                <a:gd name="T19" fmla="*/ 280 h 1002"/>
                <a:gd name="T20" fmla="*/ 652 w 781"/>
                <a:gd name="T21" fmla="*/ 309 h 1002"/>
                <a:gd name="T22" fmla="*/ 670 w 781"/>
                <a:gd name="T23" fmla="*/ 293 h 1002"/>
                <a:gd name="T24" fmla="*/ 651 w 781"/>
                <a:gd name="T25" fmla="*/ 267 h 1002"/>
                <a:gd name="T26" fmla="*/ 619 w 781"/>
                <a:gd name="T27" fmla="*/ 219 h 1002"/>
                <a:gd name="T28" fmla="*/ 590 w 781"/>
                <a:gd name="T29" fmla="*/ 192 h 1002"/>
                <a:gd name="T30" fmla="*/ 524 w 781"/>
                <a:gd name="T31" fmla="*/ 157 h 1002"/>
                <a:gd name="T32" fmla="*/ 515 w 781"/>
                <a:gd name="T33" fmla="*/ 236 h 1002"/>
                <a:gd name="T34" fmla="*/ 437 w 781"/>
                <a:gd name="T35" fmla="*/ 193 h 1002"/>
                <a:gd name="T36" fmla="*/ 441 w 781"/>
                <a:gd name="T37" fmla="*/ 133 h 1002"/>
                <a:gd name="T38" fmla="*/ 476 w 781"/>
                <a:gd name="T39" fmla="*/ 95 h 1002"/>
                <a:gd name="T40" fmla="*/ 501 w 781"/>
                <a:gd name="T41" fmla="*/ 61 h 1002"/>
                <a:gd name="T42" fmla="*/ 471 w 781"/>
                <a:gd name="T43" fmla="*/ 85 h 1002"/>
                <a:gd name="T44" fmla="*/ 447 w 781"/>
                <a:gd name="T45" fmla="*/ 38 h 1002"/>
                <a:gd name="T46" fmla="*/ 432 w 781"/>
                <a:gd name="T47" fmla="*/ 50 h 1002"/>
                <a:gd name="T48" fmla="*/ 421 w 781"/>
                <a:gd name="T49" fmla="*/ 71 h 1002"/>
                <a:gd name="T50" fmla="*/ 364 w 781"/>
                <a:gd name="T51" fmla="*/ 66 h 1002"/>
                <a:gd name="T52" fmla="*/ 301 w 781"/>
                <a:gd name="T53" fmla="*/ 57 h 1002"/>
                <a:gd name="T54" fmla="*/ 235 w 781"/>
                <a:gd name="T55" fmla="*/ 38 h 1002"/>
                <a:gd name="T56" fmla="*/ 187 w 781"/>
                <a:gd name="T57" fmla="*/ 50 h 1002"/>
                <a:gd name="T58" fmla="*/ 112 w 781"/>
                <a:gd name="T59" fmla="*/ 30 h 1002"/>
                <a:gd name="T60" fmla="*/ 48 w 781"/>
                <a:gd name="T61" fmla="*/ 32 h 1002"/>
                <a:gd name="T62" fmla="*/ 28 w 781"/>
                <a:gd name="T63" fmla="*/ 94 h 1002"/>
                <a:gd name="T64" fmla="*/ 40 w 781"/>
                <a:gd name="T65" fmla="*/ 122 h 1002"/>
                <a:gd name="T66" fmla="*/ 18 w 781"/>
                <a:gd name="T67" fmla="*/ 175 h 1002"/>
                <a:gd name="T68" fmla="*/ 65 w 781"/>
                <a:gd name="T69" fmla="*/ 196 h 1002"/>
                <a:gd name="T70" fmla="*/ 48 w 781"/>
                <a:gd name="T71" fmla="*/ 230 h 1002"/>
                <a:gd name="T72" fmla="*/ 107 w 781"/>
                <a:gd name="T73" fmla="*/ 168 h 1002"/>
                <a:gd name="T74" fmla="*/ 168 w 781"/>
                <a:gd name="T75" fmla="*/ 183 h 1002"/>
                <a:gd name="T76" fmla="*/ 227 w 781"/>
                <a:gd name="T77" fmla="*/ 250 h 1002"/>
                <a:gd name="T78" fmla="*/ 252 w 781"/>
                <a:gd name="T79" fmla="*/ 296 h 1002"/>
                <a:gd name="T80" fmla="*/ 309 w 781"/>
                <a:gd name="T81" fmla="*/ 449 h 1002"/>
                <a:gd name="T82" fmla="*/ 343 w 781"/>
                <a:gd name="T83" fmla="*/ 460 h 1002"/>
                <a:gd name="T84" fmla="*/ 454 w 781"/>
                <a:gd name="T85" fmla="*/ 537 h 1002"/>
                <a:gd name="T86" fmla="*/ 512 w 781"/>
                <a:gd name="T87" fmla="*/ 569 h 1002"/>
                <a:gd name="T88" fmla="*/ 507 w 781"/>
                <a:gd name="T89" fmla="*/ 633 h 1002"/>
                <a:gd name="T90" fmla="*/ 569 w 781"/>
                <a:gd name="T91" fmla="*/ 754 h 1002"/>
                <a:gd name="T92" fmla="*/ 549 w 781"/>
                <a:gd name="T93" fmla="*/ 886 h 1002"/>
                <a:gd name="T94" fmla="*/ 539 w 781"/>
                <a:gd name="T95" fmla="*/ 924 h 1002"/>
                <a:gd name="T96" fmla="*/ 554 w 781"/>
                <a:gd name="T97" fmla="*/ 985 h 1002"/>
                <a:gd name="T98" fmla="*/ 567 w 781"/>
                <a:gd name="T99" fmla="*/ 996 h 1002"/>
                <a:gd name="T100" fmla="*/ 598 w 781"/>
                <a:gd name="T101" fmla="*/ 911 h 1002"/>
                <a:gd name="T102" fmla="*/ 650 w 781"/>
                <a:gd name="T103" fmla="*/ 848 h 1002"/>
                <a:gd name="T104" fmla="*/ 698 w 781"/>
                <a:gd name="T105" fmla="*/ 771 h 1002"/>
                <a:gd name="T106" fmla="*/ 762 w 781"/>
                <a:gd name="T107" fmla="*/ 683 h 1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81" h="1002">
                  <a:moveTo>
                    <a:pt x="745" y="633"/>
                  </a:moveTo>
                  <a:cubicBezTo>
                    <a:pt x="739" y="632"/>
                    <a:pt x="733" y="635"/>
                    <a:pt x="727" y="631"/>
                  </a:cubicBezTo>
                  <a:cubicBezTo>
                    <a:pt x="725" y="631"/>
                    <a:pt x="724" y="633"/>
                    <a:pt x="721" y="633"/>
                  </a:cubicBezTo>
                  <a:cubicBezTo>
                    <a:pt x="721" y="630"/>
                    <a:pt x="719" y="629"/>
                    <a:pt x="719" y="627"/>
                  </a:cubicBezTo>
                  <a:cubicBezTo>
                    <a:pt x="713" y="627"/>
                    <a:pt x="705" y="618"/>
                    <a:pt x="698" y="623"/>
                  </a:cubicBezTo>
                  <a:cubicBezTo>
                    <a:pt x="698" y="621"/>
                    <a:pt x="699" y="620"/>
                    <a:pt x="698" y="619"/>
                  </a:cubicBezTo>
                  <a:cubicBezTo>
                    <a:pt x="686" y="615"/>
                    <a:pt x="683" y="627"/>
                    <a:pt x="677" y="624"/>
                  </a:cubicBezTo>
                  <a:cubicBezTo>
                    <a:pt x="681" y="618"/>
                    <a:pt x="689" y="617"/>
                    <a:pt x="689" y="608"/>
                  </a:cubicBezTo>
                  <a:cubicBezTo>
                    <a:pt x="683" y="606"/>
                    <a:pt x="684" y="597"/>
                    <a:pt x="681" y="592"/>
                  </a:cubicBezTo>
                  <a:cubicBezTo>
                    <a:pt x="679" y="590"/>
                    <a:pt x="678" y="593"/>
                    <a:pt x="677" y="591"/>
                  </a:cubicBezTo>
                  <a:cubicBezTo>
                    <a:pt x="672" y="583"/>
                    <a:pt x="658" y="582"/>
                    <a:pt x="646" y="582"/>
                  </a:cubicBezTo>
                  <a:cubicBezTo>
                    <a:pt x="646" y="579"/>
                    <a:pt x="642" y="578"/>
                    <a:pt x="639" y="577"/>
                  </a:cubicBezTo>
                  <a:cubicBezTo>
                    <a:pt x="637" y="570"/>
                    <a:pt x="631" y="567"/>
                    <a:pt x="624" y="566"/>
                  </a:cubicBezTo>
                  <a:cubicBezTo>
                    <a:pt x="624" y="563"/>
                    <a:pt x="628" y="564"/>
                    <a:pt x="628" y="562"/>
                  </a:cubicBezTo>
                  <a:cubicBezTo>
                    <a:pt x="623" y="561"/>
                    <a:pt x="620" y="559"/>
                    <a:pt x="617" y="557"/>
                  </a:cubicBezTo>
                  <a:cubicBezTo>
                    <a:pt x="618" y="557"/>
                    <a:pt x="619" y="556"/>
                    <a:pt x="618" y="554"/>
                  </a:cubicBezTo>
                  <a:cubicBezTo>
                    <a:pt x="611" y="551"/>
                    <a:pt x="605" y="556"/>
                    <a:pt x="599" y="558"/>
                  </a:cubicBezTo>
                  <a:cubicBezTo>
                    <a:pt x="595" y="555"/>
                    <a:pt x="590" y="554"/>
                    <a:pt x="583" y="555"/>
                  </a:cubicBezTo>
                  <a:cubicBezTo>
                    <a:pt x="582" y="549"/>
                    <a:pt x="574" y="550"/>
                    <a:pt x="571" y="545"/>
                  </a:cubicBezTo>
                  <a:cubicBezTo>
                    <a:pt x="567" y="546"/>
                    <a:pt x="570" y="549"/>
                    <a:pt x="568" y="550"/>
                  </a:cubicBezTo>
                  <a:cubicBezTo>
                    <a:pt x="567" y="551"/>
                    <a:pt x="563" y="553"/>
                    <a:pt x="562" y="551"/>
                  </a:cubicBezTo>
                  <a:cubicBezTo>
                    <a:pt x="562" y="548"/>
                    <a:pt x="567" y="550"/>
                    <a:pt x="567" y="546"/>
                  </a:cubicBezTo>
                  <a:cubicBezTo>
                    <a:pt x="565" y="545"/>
                    <a:pt x="564" y="544"/>
                    <a:pt x="561" y="544"/>
                  </a:cubicBezTo>
                  <a:cubicBezTo>
                    <a:pt x="556" y="554"/>
                    <a:pt x="537" y="546"/>
                    <a:pt x="538" y="562"/>
                  </a:cubicBezTo>
                  <a:cubicBezTo>
                    <a:pt x="534" y="562"/>
                    <a:pt x="533" y="566"/>
                    <a:pt x="530" y="567"/>
                  </a:cubicBezTo>
                  <a:cubicBezTo>
                    <a:pt x="524" y="556"/>
                    <a:pt x="510" y="566"/>
                    <a:pt x="501" y="565"/>
                  </a:cubicBezTo>
                  <a:cubicBezTo>
                    <a:pt x="500" y="559"/>
                    <a:pt x="493" y="558"/>
                    <a:pt x="492" y="551"/>
                  </a:cubicBezTo>
                  <a:cubicBezTo>
                    <a:pt x="490" y="544"/>
                    <a:pt x="495" y="537"/>
                    <a:pt x="495" y="529"/>
                  </a:cubicBezTo>
                  <a:cubicBezTo>
                    <a:pt x="492" y="528"/>
                    <a:pt x="489" y="527"/>
                    <a:pt x="489" y="524"/>
                  </a:cubicBezTo>
                  <a:cubicBezTo>
                    <a:pt x="479" y="522"/>
                    <a:pt x="470" y="526"/>
                    <a:pt x="463" y="522"/>
                  </a:cubicBezTo>
                  <a:cubicBezTo>
                    <a:pt x="469" y="514"/>
                    <a:pt x="469" y="501"/>
                    <a:pt x="475" y="491"/>
                  </a:cubicBezTo>
                  <a:cubicBezTo>
                    <a:pt x="467" y="486"/>
                    <a:pt x="447" y="489"/>
                    <a:pt x="449" y="503"/>
                  </a:cubicBezTo>
                  <a:cubicBezTo>
                    <a:pt x="445" y="507"/>
                    <a:pt x="436" y="506"/>
                    <a:pt x="431" y="509"/>
                  </a:cubicBezTo>
                  <a:cubicBezTo>
                    <a:pt x="428" y="507"/>
                    <a:pt x="427" y="505"/>
                    <a:pt x="422" y="506"/>
                  </a:cubicBezTo>
                  <a:cubicBezTo>
                    <a:pt x="414" y="497"/>
                    <a:pt x="406" y="478"/>
                    <a:pt x="415" y="464"/>
                  </a:cubicBezTo>
                  <a:cubicBezTo>
                    <a:pt x="411" y="459"/>
                    <a:pt x="413" y="451"/>
                    <a:pt x="415" y="449"/>
                  </a:cubicBezTo>
                  <a:cubicBezTo>
                    <a:pt x="425" y="444"/>
                    <a:pt x="431" y="435"/>
                    <a:pt x="447" y="439"/>
                  </a:cubicBezTo>
                  <a:cubicBezTo>
                    <a:pt x="451" y="445"/>
                    <a:pt x="455" y="441"/>
                    <a:pt x="463" y="442"/>
                  </a:cubicBezTo>
                  <a:cubicBezTo>
                    <a:pt x="460" y="438"/>
                    <a:pt x="460" y="437"/>
                    <a:pt x="460" y="434"/>
                  </a:cubicBezTo>
                  <a:cubicBezTo>
                    <a:pt x="467" y="436"/>
                    <a:pt x="479" y="430"/>
                    <a:pt x="482" y="439"/>
                  </a:cubicBezTo>
                  <a:cubicBezTo>
                    <a:pt x="486" y="439"/>
                    <a:pt x="487" y="436"/>
                    <a:pt x="490" y="436"/>
                  </a:cubicBezTo>
                  <a:cubicBezTo>
                    <a:pt x="493" y="437"/>
                    <a:pt x="494" y="441"/>
                    <a:pt x="496" y="443"/>
                  </a:cubicBezTo>
                  <a:cubicBezTo>
                    <a:pt x="494" y="456"/>
                    <a:pt x="503" y="459"/>
                    <a:pt x="506" y="469"/>
                  </a:cubicBezTo>
                  <a:cubicBezTo>
                    <a:pt x="509" y="468"/>
                    <a:pt x="509" y="468"/>
                    <a:pt x="511" y="469"/>
                  </a:cubicBezTo>
                  <a:cubicBezTo>
                    <a:pt x="523" y="453"/>
                    <a:pt x="497" y="434"/>
                    <a:pt x="511" y="419"/>
                  </a:cubicBezTo>
                  <a:cubicBezTo>
                    <a:pt x="517" y="418"/>
                    <a:pt x="518" y="413"/>
                    <a:pt x="522" y="410"/>
                  </a:cubicBezTo>
                  <a:cubicBezTo>
                    <a:pt x="528" y="410"/>
                    <a:pt x="528" y="403"/>
                    <a:pt x="534" y="403"/>
                  </a:cubicBezTo>
                  <a:cubicBezTo>
                    <a:pt x="536" y="400"/>
                    <a:pt x="539" y="398"/>
                    <a:pt x="540" y="394"/>
                  </a:cubicBezTo>
                  <a:cubicBezTo>
                    <a:pt x="540" y="391"/>
                    <a:pt x="538" y="389"/>
                    <a:pt x="538" y="386"/>
                  </a:cubicBezTo>
                  <a:cubicBezTo>
                    <a:pt x="541" y="378"/>
                    <a:pt x="551" y="368"/>
                    <a:pt x="548" y="359"/>
                  </a:cubicBezTo>
                  <a:cubicBezTo>
                    <a:pt x="555" y="355"/>
                    <a:pt x="565" y="355"/>
                    <a:pt x="573" y="352"/>
                  </a:cubicBezTo>
                  <a:cubicBezTo>
                    <a:pt x="575" y="346"/>
                    <a:pt x="569" y="348"/>
                    <a:pt x="567" y="345"/>
                  </a:cubicBezTo>
                  <a:cubicBezTo>
                    <a:pt x="569" y="345"/>
                    <a:pt x="570" y="344"/>
                    <a:pt x="571" y="342"/>
                  </a:cubicBezTo>
                  <a:cubicBezTo>
                    <a:pt x="570" y="342"/>
                    <a:pt x="568" y="343"/>
                    <a:pt x="568" y="342"/>
                  </a:cubicBezTo>
                  <a:cubicBezTo>
                    <a:pt x="576" y="331"/>
                    <a:pt x="586" y="328"/>
                    <a:pt x="600" y="322"/>
                  </a:cubicBezTo>
                  <a:cubicBezTo>
                    <a:pt x="598" y="324"/>
                    <a:pt x="595" y="325"/>
                    <a:pt x="593" y="328"/>
                  </a:cubicBezTo>
                  <a:cubicBezTo>
                    <a:pt x="593" y="331"/>
                    <a:pt x="592" y="336"/>
                    <a:pt x="595" y="338"/>
                  </a:cubicBezTo>
                  <a:cubicBezTo>
                    <a:pt x="597" y="337"/>
                    <a:pt x="600" y="337"/>
                    <a:pt x="603" y="336"/>
                  </a:cubicBezTo>
                  <a:cubicBezTo>
                    <a:pt x="606" y="327"/>
                    <a:pt x="616" y="327"/>
                    <a:pt x="626" y="324"/>
                  </a:cubicBezTo>
                  <a:cubicBezTo>
                    <a:pt x="626" y="322"/>
                    <a:pt x="625" y="322"/>
                    <a:pt x="625" y="320"/>
                  </a:cubicBezTo>
                  <a:cubicBezTo>
                    <a:pt x="629" y="320"/>
                    <a:pt x="631" y="318"/>
                    <a:pt x="632" y="315"/>
                  </a:cubicBezTo>
                  <a:cubicBezTo>
                    <a:pt x="627" y="314"/>
                    <a:pt x="631" y="307"/>
                    <a:pt x="626" y="305"/>
                  </a:cubicBezTo>
                  <a:cubicBezTo>
                    <a:pt x="623" y="309"/>
                    <a:pt x="620" y="311"/>
                    <a:pt x="621" y="318"/>
                  </a:cubicBezTo>
                  <a:cubicBezTo>
                    <a:pt x="618" y="314"/>
                    <a:pt x="615" y="318"/>
                    <a:pt x="609" y="316"/>
                  </a:cubicBezTo>
                  <a:cubicBezTo>
                    <a:pt x="609" y="315"/>
                    <a:pt x="610" y="315"/>
                    <a:pt x="609" y="314"/>
                  </a:cubicBezTo>
                  <a:cubicBezTo>
                    <a:pt x="602" y="315"/>
                    <a:pt x="601" y="304"/>
                    <a:pt x="604" y="300"/>
                  </a:cubicBezTo>
                  <a:cubicBezTo>
                    <a:pt x="603" y="300"/>
                    <a:pt x="601" y="300"/>
                    <a:pt x="600" y="298"/>
                  </a:cubicBezTo>
                  <a:cubicBezTo>
                    <a:pt x="603" y="297"/>
                    <a:pt x="607" y="297"/>
                    <a:pt x="607" y="293"/>
                  </a:cubicBezTo>
                  <a:cubicBezTo>
                    <a:pt x="600" y="280"/>
                    <a:pt x="579" y="295"/>
                    <a:pt x="573" y="298"/>
                  </a:cubicBezTo>
                  <a:cubicBezTo>
                    <a:pt x="578" y="290"/>
                    <a:pt x="588" y="288"/>
                    <a:pt x="593" y="280"/>
                  </a:cubicBezTo>
                  <a:cubicBezTo>
                    <a:pt x="611" y="279"/>
                    <a:pt x="635" y="284"/>
                    <a:pt x="640" y="270"/>
                  </a:cubicBezTo>
                  <a:cubicBezTo>
                    <a:pt x="643" y="269"/>
                    <a:pt x="647" y="270"/>
                    <a:pt x="649" y="268"/>
                  </a:cubicBezTo>
                  <a:cubicBezTo>
                    <a:pt x="646" y="274"/>
                    <a:pt x="638" y="282"/>
                    <a:pt x="641" y="288"/>
                  </a:cubicBezTo>
                  <a:cubicBezTo>
                    <a:pt x="638" y="289"/>
                    <a:pt x="634" y="293"/>
                    <a:pt x="637" y="295"/>
                  </a:cubicBezTo>
                  <a:cubicBezTo>
                    <a:pt x="634" y="296"/>
                    <a:pt x="631" y="299"/>
                    <a:pt x="633" y="303"/>
                  </a:cubicBezTo>
                  <a:cubicBezTo>
                    <a:pt x="642" y="303"/>
                    <a:pt x="651" y="303"/>
                    <a:pt x="656" y="305"/>
                  </a:cubicBezTo>
                  <a:cubicBezTo>
                    <a:pt x="654" y="305"/>
                    <a:pt x="652" y="305"/>
                    <a:pt x="652" y="309"/>
                  </a:cubicBezTo>
                  <a:cubicBezTo>
                    <a:pt x="654" y="309"/>
                    <a:pt x="655" y="310"/>
                    <a:pt x="658" y="310"/>
                  </a:cubicBezTo>
                  <a:cubicBezTo>
                    <a:pt x="659" y="306"/>
                    <a:pt x="662" y="304"/>
                    <a:pt x="665" y="303"/>
                  </a:cubicBezTo>
                  <a:cubicBezTo>
                    <a:pt x="664" y="305"/>
                    <a:pt x="662" y="306"/>
                    <a:pt x="663" y="309"/>
                  </a:cubicBezTo>
                  <a:cubicBezTo>
                    <a:pt x="667" y="309"/>
                    <a:pt x="668" y="311"/>
                    <a:pt x="671" y="312"/>
                  </a:cubicBezTo>
                  <a:cubicBezTo>
                    <a:pt x="671" y="308"/>
                    <a:pt x="673" y="306"/>
                    <a:pt x="673" y="302"/>
                  </a:cubicBezTo>
                  <a:cubicBezTo>
                    <a:pt x="669" y="302"/>
                    <a:pt x="671" y="298"/>
                    <a:pt x="667" y="298"/>
                  </a:cubicBezTo>
                  <a:cubicBezTo>
                    <a:pt x="670" y="298"/>
                    <a:pt x="671" y="296"/>
                    <a:pt x="670" y="293"/>
                  </a:cubicBezTo>
                  <a:cubicBezTo>
                    <a:pt x="669" y="291"/>
                    <a:pt x="667" y="294"/>
                    <a:pt x="665" y="292"/>
                  </a:cubicBezTo>
                  <a:cubicBezTo>
                    <a:pt x="666" y="290"/>
                    <a:pt x="669" y="290"/>
                    <a:pt x="669" y="287"/>
                  </a:cubicBezTo>
                  <a:cubicBezTo>
                    <a:pt x="663" y="282"/>
                    <a:pt x="659" y="289"/>
                    <a:pt x="655" y="285"/>
                  </a:cubicBezTo>
                  <a:cubicBezTo>
                    <a:pt x="655" y="283"/>
                    <a:pt x="658" y="283"/>
                    <a:pt x="657" y="281"/>
                  </a:cubicBezTo>
                  <a:cubicBezTo>
                    <a:pt x="655" y="280"/>
                    <a:pt x="653" y="280"/>
                    <a:pt x="651" y="279"/>
                  </a:cubicBezTo>
                  <a:cubicBezTo>
                    <a:pt x="654" y="275"/>
                    <a:pt x="657" y="272"/>
                    <a:pt x="657" y="267"/>
                  </a:cubicBezTo>
                  <a:cubicBezTo>
                    <a:pt x="655" y="266"/>
                    <a:pt x="651" y="268"/>
                    <a:pt x="651" y="267"/>
                  </a:cubicBezTo>
                  <a:cubicBezTo>
                    <a:pt x="653" y="265"/>
                    <a:pt x="656" y="264"/>
                    <a:pt x="656" y="261"/>
                  </a:cubicBezTo>
                  <a:cubicBezTo>
                    <a:pt x="652" y="258"/>
                    <a:pt x="656" y="255"/>
                    <a:pt x="656" y="250"/>
                  </a:cubicBezTo>
                  <a:cubicBezTo>
                    <a:pt x="654" y="248"/>
                    <a:pt x="651" y="245"/>
                    <a:pt x="647" y="247"/>
                  </a:cubicBezTo>
                  <a:cubicBezTo>
                    <a:pt x="649" y="244"/>
                    <a:pt x="646" y="243"/>
                    <a:pt x="644" y="241"/>
                  </a:cubicBezTo>
                  <a:cubicBezTo>
                    <a:pt x="645" y="240"/>
                    <a:pt x="646" y="240"/>
                    <a:pt x="646" y="237"/>
                  </a:cubicBezTo>
                  <a:cubicBezTo>
                    <a:pt x="638" y="237"/>
                    <a:pt x="637" y="231"/>
                    <a:pt x="628" y="231"/>
                  </a:cubicBezTo>
                  <a:cubicBezTo>
                    <a:pt x="631" y="225"/>
                    <a:pt x="622" y="223"/>
                    <a:pt x="619" y="219"/>
                  </a:cubicBezTo>
                  <a:cubicBezTo>
                    <a:pt x="619" y="216"/>
                    <a:pt x="624" y="218"/>
                    <a:pt x="623" y="215"/>
                  </a:cubicBezTo>
                  <a:cubicBezTo>
                    <a:pt x="624" y="211"/>
                    <a:pt x="621" y="211"/>
                    <a:pt x="619" y="209"/>
                  </a:cubicBezTo>
                  <a:cubicBezTo>
                    <a:pt x="623" y="207"/>
                    <a:pt x="618" y="203"/>
                    <a:pt x="616" y="202"/>
                  </a:cubicBezTo>
                  <a:cubicBezTo>
                    <a:pt x="613" y="192"/>
                    <a:pt x="609" y="183"/>
                    <a:pt x="602" y="176"/>
                  </a:cubicBezTo>
                  <a:cubicBezTo>
                    <a:pt x="601" y="179"/>
                    <a:pt x="600" y="182"/>
                    <a:pt x="596" y="182"/>
                  </a:cubicBezTo>
                  <a:cubicBezTo>
                    <a:pt x="597" y="187"/>
                    <a:pt x="596" y="190"/>
                    <a:pt x="594" y="193"/>
                  </a:cubicBezTo>
                  <a:cubicBezTo>
                    <a:pt x="594" y="192"/>
                    <a:pt x="592" y="193"/>
                    <a:pt x="590" y="192"/>
                  </a:cubicBezTo>
                  <a:cubicBezTo>
                    <a:pt x="590" y="196"/>
                    <a:pt x="589" y="199"/>
                    <a:pt x="584" y="198"/>
                  </a:cubicBezTo>
                  <a:cubicBezTo>
                    <a:pt x="585" y="195"/>
                    <a:pt x="581" y="195"/>
                    <a:pt x="581" y="192"/>
                  </a:cubicBezTo>
                  <a:cubicBezTo>
                    <a:pt x="577" y="191"/>
                    <a:pt x="575" y="195"/>
                    <a:pt x="573" y="193"/>
                  </a:cubicBezTo>
                  <a:cubicBezTo>
                    <a:pt x="580" y="188"/>
                    <a:pt x="572" y="176"/>
                    <a:pt x="576" y="167"/>
                  </a:cubicBezTo>
                  <a:cubicBezTo>
                    <a:pt x="564" y="173"/>
                    <a:pt x="560" y="153"/>
                    <a:pt x="550" y="150"/>
                  </a:cubicBezTo>
                  <a:cubicBezTo>
                    <a:pt x="544" y="156"/>
                    <a:pt x="535" y="150"/>
                    <a:pt x="529" y="148"/>
                  </a:cubicBezTo>
                  <a:cubicBezTo>
                    <a:pt x="526" y="150"/>
                    <a:pt x="524" y="153"/>
                    <a:pt x="524" y="157"/>
                  </a:cubicBezTo>
                  <a:cubicBezTo>
                    <a:pt x="524" y="160"/>
                    <a:pt x="527" y="160"/>
                    <a:pt x="527" y="163"/>
                  </a:cubicBezTo>
                  <a:cubicBezTo>
                    <a:pt x="526" y="167"/>
                    <a:pt x="523" y="169"/>
                    <a:pt x="523" y="173"/>
                  </a:cubicBezTo>
                  <a:cubicBezTo>
                    <a:pt x="524" y="173"/>
                    <a:pt x="528" y="172"/>
                    <a:pt x="528" y="174"/>
                  </a:cubicBezTo>
                  <a:cubicBezTo>
                    <a:pt x="525" y="176"/>
                    <a:pt x="529" y="180"/>
                    <a:pt x="529" y="183"/>
                  </a:cubicBezTo>
                  <a:cubicBezTo>
                    <a:pt x="524" y="185"/>
                    <a:pt x="524" y="191"/>
                    <a:pt x="521" y="195"/>
                  </a:cubicBezTo>
                  <a:cubicBezTo>
                    <a:pt x="527" y="202"/>
                    <a:pt x="535" y="206"/>
                    <a:pt x="533" y="220"/>
                  </a:cubicBezTo>
                  <a:cubicBezTo>
                    <a:pt x="528" y="227"/>
                    <a:pt x="524" y="234"/>
                    <a:pt x="515" y="236"/>
                  </a:cubicBezTo>
                  <a:cubicBezTo>
                    <a:pt x="514" y="241"/>
                    <a:pt x="517" y="243"/>
                    <a:pt x="520" y="245"/>
                  </a:cubicBezTo>
                  <a:cubicBezTo>
                    <a:pt x="515" y="251"/>
                    <a:pt x="524" y="260"/>
                    <a:pt x="520" y="267"/>
                  </a:cubicBezTo>
                  <a:cubicBezTo>
                    <a:pt x="517" y="264"/>
                    <a:pt x="516" y="269"/>
                    <a:pt x="514" y="269"/>
                  </a:cubicBezTo>
                  <a:cubicBezTo>
                    <a:pt x="505" y="261"/>
                    <a:pt x="498" y="248"/>
                    <a:pt x="502" y="234"/>
                  </a:cubicBezTo>
                  <a:cubicBezTo>
                    <a:pt x="492" y="230"/>
                    <a:pt x="480" y="228"/>
                    <a:pt x="471" y="224"/>
                  </a:cubicBezTo>
                  <a:cubicBezTo>
                    <a:pt x="467" y="215"/>
                    <a:pt x="454" y="208"/>
                    <a:pt x="442" y="212"/>
                  </a:cubicBezTo>
                  <a:cubicBezTo>
                    <a:pt x="443" y="205"/>
                    <a:pt x="440" y="199"/>
                    <a:pt x="437" y="193"/>
                  </a:cubicBezTo>
                  <a:cubicBezTo>
                    <a:pt x="435" y="194"/>
                    <a:pt x="433" y="194"/>
                    <a:pt x="431" y="193"/>
                  </a:cubicBezTo>
                  <a:cubicBezTo>
                    <a:pt x="427" y="183"/>
                    <a:pt x="430" y="167"/>
                    <a:pt x="437" y="163"/>
                  </a:cubicBezTo>
                  <a:cubicBezTo>
                    <a:pt x="437" y="161"/>
                    <a:pt x="437" y="159"/>
                    <a:pt x="437" y="157"/>
                  </a:cubicBezTo>
                  <a:cubicBezTo>
                    <a:pt x="440" y="154"/>
                    <a:pt x="445" y="152"/>
                    <a:pt x="446" y="148"/>
                  </a:cubicBezTo>
                  <a:cubicBezTo>
                    <a:pt x="446" y="147"/>
                    <a:pt x="442" y="146"/>
                    <a:pt x="444" y="145"/>
                  </a:cubicBezTo>
                  <a:cubicBezTo>
                    <a:pt x="447" y="148"/>
                    <a:pt x="452" y="146"/>
                    <a:pt x="453" y="143"/>
                  </a:cubicBezTo>
                  <a:cubicBezTo>
                    <a:pt x="454" y="135"/>
                    <a:pt x="444" y="138"/>
                    <a:pt x="441" y="133"/>
                  </a:cubicBezTo>
                  <a:cubicBezTo>
                    <a:pt x="447" y="134"/>
                    <a:pt x="450" y="138"/>
                    <a:pt x="457" y="137"/>
                  </a:cubicBezTo>
                  <a:cubicBezTo>
                    <a:pt x="457" y="135"/>
                    <a:pt x="457" y="133"/>
                    <a:pt x="457" y="131"/>
                  </a:cubicBezTo>
                  <a:cubicBezTo>
                    <a:pt x="466" y="135"/>
                    <a:pt x="472" y="124"/>
                    <a:pt x="473" y="115"/>
                  </a:cubicBezTo>
                  <a:cubicBezTo>
                    <a:pt x="463" y="115"/>
                    <a:pt x="461" y="108"/>
                    <a:pt x="454" y="104"/>
                  </a:cubicBezTo>
                  <a:cubicBezTo>
                    <a:pt x="462" y="105"/>
                    <a:pt x="463" y="112"/>
                    <a:pt x="470" y="113"/>
                  </a:cubicBezTo>
                  <a:cubicBezTo>
                    <a:pt x="474" y="110"/>
                    <a:pt x="478" y="106"/>
                    <a:pt x="480" y="100"/>
                  </a:cubicBezTo>
                  <a:cubicBezTo>
                    <a:pt x="479" y="99"/>
                    <a:pt x="474" y="97"/>
                    <a:pt x="476" y="95"/>
                  </a:cubicBezTo>
                  <a:cubicBezTo>
                    <a:pt x="478" y="95"/>
                    <a:pt x="480" y="95"/>
                    <a:pt x="482" y="95"/>
                  </a:cubicBezTo>
                  <a:cubicBezTo>
                    <a:pt x="482" y="97"/>
                    <a:pt x="483" y="99"/>
                    <a:pt x="483" y="100"/>
                  </a:cubicBezTo>
                  <a:cubicBezTo>
                    <a:pt x="487" y="100"/>
                    <a:pt x="488" y="100"/>
                    <a:pt x="492" y="100"/>
                  </a:cubicBezTo>
                  <a:cubicBezTo>
                    <a:pt x="495" y="99"/>
                    <a:pt x="490" y="97"/>
                    <a:pt x="492" y="96"/>
                  </a:cubicBezTo>
                  <a:cubicBezTo>
                    <a:pt x="493" y="97"/>
                    <a:pt x="494" y="97"/>
                    <a:pt x="494" y="99"/>
                  </a:cubicBezTo>
                  <a:cubicBezTo>
                    <a:pt x="499" y="96"/>
                    <a:pt x="508" y="90"/>
                    <a:pt x="507" y="81"/>
                  </a:cubicBezTo>
                  <a:cubicBezTo>
                    <a:pt x="506" y="75"/>
                    <a:pt x="495" y="69"/>
                    <a:pt x="501" y="61"/>
                  </a:cubicBezTo>
                  <a:cubicBezTo>
                    <a:pt x="500" y="64"/>
                    <a:pt x="502" y="66"/>
                    <a:pt x="505" y="66"/>
                  </a:cubicBezTo>
                  <a:cubicBezTo>
                    <a:pt x="507" y="63"/>
                    <a:pt x="507" y="55"/>
                    <a:pt x="506" y="52"/>
                  </a:cubicBezTo>
                  <a:cubicBezTo>
                    <a:pt x="498" y="51"/>
                    <a:pt x="493" y="40"/>
                    <a:pt x="482" y="42"/>
                  </a:cubicBezTo>
                  <a:cubicBezTo>
                    <a:pt x="481" y="45"/>
                    <a:pt x="480" y="49"/>
                    <a:pt x="481" y="53"/>
                  </a:cubicBezTo>
                  <a:cubicBezTo>
                    <a:pt x="483" y="55"/>
                    <a:pt x="486" y="56"/>
                    <a:pt x="486" y="61"/>
                  </a:cubicBezTo>
                  <a:cubicBezTo>
                    <a:pt x="484" y="61"/>
                    <a:pt x="482" y="61"/>
                    <a:pt x="481" y="61"/>
                  </a:cubicBezTo>
                  <a:cubicBezTo>
                    <a:pt x="479" y="70"/>
                    <a:pt x="478" y="80"/>
                    <a:pt x="471" y="85"/>
                  </a:cubicBezTo>
                  <a:cubicBezTo>
                    <a:pt x="470" y="79"/>
                    <a:pt x="465" y="77"/>
                    <a:pt x="465" y="71"/>
                  </a:cubicBezTo>
                  <a:cubicBezTo>
                    <a:pt x="467" y="71"/>
                    <a:pt x="468" y="70"/>
                    <a:pt x="469" y="70"/>
                  </a:cubicBezTo>
                  <a:cubicBezTo>
                    <a:pt x="469" y="61"/>
                    <a:pt x="468" y="54"/>
                    <a:pt x="460" y="52"/>
                  </a:cubicBezTo>
                  <a:cubicBezTo>
                    <a:pt x="457" y="55"/>
                    <a:pt x="457" y="63"/>
                    <a:pt x="454" y="66"/>
                  </a:cubicBezTo>
                  <a:cubicBezTo>
                    <a:pt x="455" y="58"/>
                    <a:pt x="450" y="55"/>
                    <a:pt x="454" y="48"/>
                  </a:cubicBezTo>
                  <a:cubicBezTo>
                    <a:pt x="451" y="43"/>
                    <a:pt x="444" y="48"/>
                    <a:pt x="441" y="43"/>
                  </a:cubicBezTo>
                  <a:cubicBezTo>
                    <a:pt x="441" y="39"/>
                    <a:pt x="445" y="40"/>
                    <a:pt x="447" y="38"/>
                  </a:cubicBezTo>
                  <a:cubicBezTo>
                    <a:pt x="446" y="31"/>
                    <a:pt x="441" y="28"/>
                    <a:pt x="439" y="22"/>
                  </a:cubicBezTo>
                  <a:cubicBezTo>
                    <a:pt x="442" y="11"/>
                    <a:pt x="428" y="0"/>
                    <a:pt x="421" y="10"/>
                  </a:cubicBezTo>
                  <a:cubicBezTo>
                    <a:pt x="421" y="12"/>
                    <a:pt x="422" y="14"/>
                    <a:pt x="423" y="16"/>
                  </a:cubicBezTo>
                  <a:cubicBezTo>
                    <a:pt x="418" y="14"/>
                    <a:pt x="417" y="21"/>
                    <a:pt x="416" y="26"/>
                  </a:cubicBezTo>
                  <a:cubicBezTo>
                    <a:pt x="417" y="28"/>
                    <a:pt x="419" y="29"/>
                    <a:pt x="420" y="31"/>
                  </a:cubicBezTo>
                  <a:cubicBezTo>
                    <a:pt x="419" y="33"/>
                    <a:pt x="416" y="33"/>
                    <a:pt x="416" y="37"/>
                  </a:cubicBezTo>
                  <a:cubicBezTo>
                    <a:pt x="418" y="46"/>
                    <a:pt x="428" y="45"/>
                    <a:pt x="432" y="50"/>
                  </a:cubicBezTo>
                  <a:cubicBezTo>
                    <a:pt x="435" y="50"/>
                    <a:pt x="438" y="49"/>
                    <a:pt x="437" y="53"/>
                  </a:cubicBezTo>
                  <a:cubicBezTo>
                    <a:pt x="434" y="50"/>
                    <a:pt x="427" y="54"/>
                    <a:pt x="428" y="61"/>
                  </a:cubicBezTo>
                  <a:cubicBezTo>
                    <a:pt x="430" y="61"/>
                    <a:pt x="434" y="59"/>
                    <a:pt x="434" y="61"/>
                  </a:cubicBezTo>
                  <a:cubicBezTo>
                    <a:pt x="434" y="62"/>
                    <a:pt x="435" y="63"/>
                    <a:pt x="435" y="65"/>
                  </a:cubicBezTo>
                  <a:cubicBezTo>
                    <a:pt x="427" y="64"/>
                    <a:pt x="430" y="73"/>
                    <a:pt x="423" y="72"/>
                  </a:cubicBezTo>
                  <a:cubicBezTo>
                    <a:pt x="421" y="76"/>
                    <a:pt x="424" y="82"/>
                    <a:pt x="423" y="85"/>
                  </a:cubicBezTo>
                  <a:cubicBezTo>
                    <a:pt x="417" y="83"/>
                    <a:pt x="422" y="76"/>
                    <a:pt x="421" y="71"/>
                  </a:cubicBezTo>
                  <a:cubicBezTo>
                    <a:pt x="415" y="69"/>
                    <a:pt x="412" y="64"/>
                    <a:pt x="406" y="66"/>
                  </a:cubicBezTo>
                  <a:cubicBezTo>
                    <a:pt x="406" y="68"/>
                    <a:pt x="406" y="70"/>
                    <a:pt x="406" y="71"/>
                  </a:cubicBezTo>
                  <a:cubicBezTo>
                    <a:pt x="409" y="72"/>
                    <a:pt x="416" y="73"/>
                    <a:pt x="412" y="78"/>
                  </a:cubicBezTo>
                  <a:cubicBezTo>
                    <a:pt x="410" y="77"/>
                    <a:pt x="409" y="73"/>
                    <a:pt x="406" y="73"/>
                  </a:cubicBezTo>
                  <a:cubicBezTo>
                    <a:pt x="405" y="75"/>
                    <a:pt x="404" y="75"/>
                    <a:pt x="402" y="75"/>
                  </a:cubicBezTo>
                  <a:cubicBezTo>
                    <a:pt x="392" y="73"/>
                    <a:pt x="381" y="80"/>
                    <a:pt x="378" y="71"/>
                  </a:cubicBezTo>
                  <a:cubicBezTo>
                    <a:pt x="371" y="72"/>
                    <a:pt x="368" y="68"/>
                    <a:pt x="364" y="66"/>
                  </a:cubicBezTo>
                  <a:cubicBezTo>
                    <a:pt x="361" y="70"/>
                    <a:pt x="357" y="72"/>
                    <a:pt x="352" y="73"/>
                  </a:cubicBezTo>
                  <a:cubicBezTo>
                    <a:pt x="352" y="76"/>
                    <a:pt x="352" y="79"/>
                    <a:pt x="352" y="82"/>
                  </a:cubicBezTo>
                  <a:cubicBezTo>
                    <a:pt x="348" y="78"/>
                    <a:pt x="342" y="76"/>
                    <a:pt x="337" y="73"/>
                  </a:cubicBezTo>
                  <a:cubicBezTo>
                    <a:pt x="329" y="77"/>
                    <a:pt x="314" y="80"/>
                    <a:pt x="309" y="72"/>
                  </a:cubicBezTo>
                  <a:cubicBezTo>
                    <a:pt x="309" y="69"/>
                    <a:pt x="314" y="70"/>
                    <a:pt x="317" y="69"/>
                  </a:cubicBezTo>
                  <a:cubicBezTo>
                    <a:pt x="315" y="64"/>
                    <a:pt x="313" y="57"/>
                    <a:pt x="307" y="56"/>
                  </a:cubicBezTo>
                  <a:cubicBezTo>
                    <a:pt x="305" y="56"/>
                    <a:pt x="303" y="58"/>
                    <a:pt x="301" y="57"/>
                  </a:cubicBezTo>
                  <a:cubicBezTo>
                    <a:pt x="288" y="55"/>
                    <a:pt x="277" y="44"/>
                    <a:pt x="264" y="41"/>
                  </a:cubicBezTo>
                  <a:cubicBezTo>
                    <a:pt x="260" y="43"/>
                    <a:pt x="262" y="50"/>
                    <a:pt x="256" y="49"/>
                  </a:cubicBezTo>
                  <a:cubicBezTo>
                    <a:pt x="257" y="46"/>
                    <a:pt x="256" y="42"/>
                    <a:pt x="255" y="40"/>
                  </a:cubicBezTo>
                  <a:cubicBezTo>
                    <a:pt x="252" y="40"/>
                    <a:pt x="252" y="42"/>
                    <a:pt x="249" y="42"/>
                  </a:cubicBezTo>
                  <a:cubicBezTo>
                    <a:pt x="248" y="45"/>
                    <a:pt x="250" y="50"/>
                    <a:pt x="249" y="50"/>
                  </a:cubicBezTo>
                  <a:cubicBezTo>
                    <a:pt x="239" y="46"/>
                    <a:pt x="244" y="28"/>
                    <a:pt x="231" y="27"/>
                  </a:cubicBezTo>
                  <a:cubicBezTo>
                    <a:pt x="232" y="31"/>
                    <a:pt x="234" y="34"/>
                    <a:pt x="235" y="38"/>
                  </a:cubicBezTo>
                  <a:cubicBezTo>
                    <a:pt x="228" y="42"/>
                    <a:pt x="223" y="49"/>
                    <a:pt x="213" y="51"/>
                  </a:cubicBezTo>
                  <a:cubicBezTo>
                    <a:pt x="212" y="55"/>
                    <a:pt x="208" y="57"/>
                    <a:pt x="205" y="61"/>
                  </a:cubicBezTo>
                  <a:cubicBezTo>
                    <a:pt x="205" y="59"/>
                    <a:pt x="203" y="59"/>
                    <a:pt x="203" y="57"/>
                  </a:cubicBezTo>
                  <a:cubicBezTo>
                    <a:pt x="209" y="49"/>
                    <a:pt x="221" y="47"/>
                    <a:pt x="225" y="37"/>
                  </a:cubicBezTo>
                  <a:cubicBezTo>
                    <a:pt x="223" y="36"/>
                    <a:pt x="220" y="36"/>
                    <a:pt x="217" y="36"/>
                  </a:cubicBezTo>
                  <a:cubicBezTo>
                    <a:pt x="213" y="42"/>
                    <a:pt x="205" y="43"/>
                    <a:pt x="201" y="47"/>
                  </a:cubicBezTo>
                  <a:cubicBezTo>
                    <a:pt x="195" y="46"/>
                    <a:pt x="190" y="46"/>
                    <a:pt x="187" y="50"/>
                  </a:cubicBezTo>
                  <a:cubicBezTo>
                    <a:pt x="186" y="54"/>
                    <a:pt x="190" y="57"/>
                    <a:pt x="188" y="58"/>
                  </a:cubicBezTo>
                  <a:cubicBezTo>
                    <a:pt x="175" y="57"/>
                    <a:pt x="173" y="45"/>
                    <a:pt x="159" y="46"/>
                  </a:cubicBezTo>
                  <a:cubicBezTo>
                    <a:pt x="154" y="43"/>
                    <a:pt x="151" y="37"/>
                    <a:pt x="145" y="36"/>
                  </a:cubicBezTo>
                  <a:cubicBezTo>
                    <a:pt x="142" y="35"/>
                    <a:pt x="138" y="38"/>
                    <a:pt x="135" y="38"/>
                  </a:cubicBezTo>
                  <a:cubicBezTo>
                    <a:pt x="133" y="37"/>
                    <a:pt x="132" y="35"/>
                    <a:pt x="130" y="34"/>
                  </a:cubicBezTo>
                  <a:cubicBezTo>
                    <a:pt x="129" y="34"/>
                    <a:pt x="126" y="35"/>
                    <a:pt x="124" y="34"/>
                  </a:cubicBezTo>
                  <a:cubicBezTo>
                    <a:pt x="120" y="34"/>
                    <a:pt x="115" y="30"/>
                    <a:pt x="112" y="30"/>
                  </a:cubicBezTo>
                  <a:cubicBezTo>
                    <a:pt x="106" y="29"/>
                    <a:pt x="102" y="32"/>
                    <a:pt x="96" y="30"/>
                  </a:cubicBezTo>
                  <a:cubicBezTo>
                    <a:pt x="94" y="28"/>
                    <a:pt x="93" y="25"/>
                    <a:pt x="91" y="23"/>
                  </a:cubicBezTo>
                  <a:cubicBezTo>
                    <a:pt x="85" y="23"/>
                    <a:pt x="82" y="22"/>
                    <a:pt x="78" y="20"/>
                  </a:cubicBezTo>
                  <a:cubicBezTo>
                    <a:pt x="76" y="22"/>
                    <a:pt x="76" y="26"/>
                    <a:pt x="73" y="24"/>
                  </a:cubicBezTo>
                  <a:cubicBezTo>
                    <a:pt x="76" y="20"/>
                    <a:pt x="73" y="16"/>
                    <a:pt x="68" y="15"/>
                  </a:cubicBezTo>
                  <a:cubicBezTo>
                    <a:pt x="64" y="22"/>
                    <a:pt x="57" y="25"/>
                    <a:pt x="46" y="24"/>
                  </a:cubicBezTo>
                  <a:cubicBezTo>
                    <a:pt x="45" y="28"/>
                    <a:pt x="50" y="30"/>
                    <a:pt x="48" y="32"/>
                  </a:cubicBezTo>
                  <a:cubicBezTo>
                    <a:pt x="25" y="27"/>
                    <a:pt x="35" y="61"/>
                    <a:pt x="12" y="57"/>
                  </a:cubicBezTo>
                  <a:cubicBezTo>
                    <a:pt x="12" y="62"/>
                    <a:pt x="9" y="63"/>
                    <a:pt x="8" y="67"/>
                  </a:cubicBezTo>
                  <a:cubicBezTo>
                    <a:pt x="14" y="74"/>
                    <a:pt x="25" y="75"/>
                    <a:pt x="27" y="86"/>
                  </a:cubicBezTo>
                  <a:cubicBezTo>
                    <a:pt x="31" y="88"/>
                    <a:pt x="39" y="85"/>
                    <a:pt x="37" y="94"/>
                  </a:cubicBezTo>
                  <a:cubicBezTo>
                    <a:pt x="42" y="94"/>
                    <a:pt x="46" y="93"/>
                    <a:pt x="47" y="97"/>
                  </a:cubicBezTo>
                  <a:cubicBezTo>
                    <a:pt x="39" y="93"/>
                    <a:pt x="35" y="106"/>
                    <a:pt x="27" y="99"/>
                  </a:cubicBezTo>
                  <a:cubicBezTo>
                    <a:pt x="27" y="97"/>
                    <a:pt x="29" y="96"/>
                    <a:pt x="28" y="94"/>
                  </a:cubicBezTo>
                  <a:cubicBezTo>
                    <a:pt x="19" y="92"/>
                    <a:pt x="16" y="98"/>
                    <a:pt x="11" y="101"/>
                  </a:cubicBezTo>
                  <a:cubicBezTo>
                    <a:pt x="7" y="103"/>
                    <a:pt x="0" y="103"/>
                    <a:pt x="0" y="108"/>
                  </a:cubicBezTo>
                  <a:cubicBezTo>
                    <a:pt x="4" y="110"/>
                    <a:pt x="9" y="111"/>
                    <a:pt x="13" y="113"/>
                  </a:cubicBezTo>
                  <a:cubicBezTo>
                    <a:pt x="8" y="112"/>
                    <a:pt x="10" y="118"/>
                    <a:pt x="9" y="122"/>
                  </a:cubicBezTo>
                  <a:cubicBezTo>
                    <a:pt x="15" y="126"/>
                    <a:pt x="26" y="121"/>
                    <a:pt x="32" y="126"/>
                  </a:cubicBezTo>
                  <a:cubicBezTo>
                    <a:pt x="35" y="124"/>
                    <a:pt x="41" y="115"/>
                    <a:pt x="43" y="122"/>
                  </a:cubicBezTo>
                  <a:cubicBezTo>
                    <a:pt x="43" y="123"/>
                    <a:pt x="41" y="122"/>
                    <a:pt x="40" y="122"/>
                  </a:cubicBezTo>
                  <a:cubicBezTo>
                    <a:pt x="40" y="127"/>
                    <a:pt x="44" y="131"/>
                    <a:pt x="42" y="135"/>
                  </a:cubicBezTo>
                  <a:cubicBezTo>
                    <a:pt x="35" y="135"/>
                    <a:pt x="34" y="139"/>
                    <a:pt x="29" y="141"/>
                  </a:cubicBezTo>
                  <a:cubicBezTo>
                    <a:pt x="27" y="141"/>
                    <a:pt x="26" y="139"/>
                    <a:pt x="23" y="139"/>
                  </a:cubicBezTo>
                  <a:cubicBezTo>
                    <a:pt x="19" y="145"/>
                    <a:pt x="16" y="153"/>
                    <a:pt x="12" y="160"/>
                  </a:cubicBezTo>
                  <a:cubicBezTo>
                    <a:pt x="13" y="162"/>
                    <a:pt x="13" y="165"/>
                    <a:pt x="14" y="166"/>
                  </a:cubicBezTo>
                  <a:cubicBezTo>
                    <a:pt x="19" y="165"/>
                    <a:pt x="20" y="168"/>
                    <a:pt x="22" y="169"/>
                  </a:cubicBezTo>
                  <a:cubicBezTo>
                    <a:pt x="19" y="169"/>
                    <a:pt x="19" y="173"/>
                    <a:pt x="18" y="175"/>
                  </a:cubicBezTo>
                  <a:cubicBezTo>
                    <a:pt x="21" y="177"/>
                    <a:pt x="23" y="181"/>
                    <a:pt x="26" y="183"/>
                  </a:cubicBezTo>
                  <a:cubicBezTo>
                    <a:pt x="29" y="182"/>
                    <a:pt x="32" y="181"/>
                    <a:pt x="35" y="179"/>
                  </a:cubicBezTo>
                  <a:cubicBezTo>
                    <a:pt x="37" y="184"/>
                    <a:pt x="36" y="189"/>
                    <a:pt x="37" y="196"/>
                  </a:cubicBezTo>
                  <a:cubicBezTo>
                    <a:pt x="42" y="197"/>
                    <a:pt x="44" y="194"/>
                    <a:pt x="46" y="192"/>
                  </a:cubicBezTo>
                  <a:cubicBezTo>
                    <a:pt x="52" y="192"/>
                    <a:pt x="51" y="199"/>
                    <a:pt x="56" y="199"/>
                  </a:cubicBezTo>
                  <a:cubicBezTo>
                    <a:pt x="57" y="197"/>
                    <a:pt x="55" y="194"/>
                    <a:pt x="57" y="193"/>
                  </a:cubicBezTo>
                  <a:cubicBezTo>
                    <a:pt x="57" y="199"/>
                    <a:pt x="63" y="193"/>
                    <a:pt x="65" y="196"/>
                  </a:cubicBezTo>
                  <a:cubicBezTo>
                    <a:pt x="62" y="203"/>
                    <a:pt x="59" y="210"/>
                    <a:pt x="55" y="215"/>
                  </a:cubicBezTo>
                  <a:cubicBezTo>
                    <a:pt x="48" y="215"/>
                    <a:pt x="47" y="221"/>
                    <a:pt x="43" y="225"/>
                  </a:cubicBezTo>
                  <a:cubicBezTo>
                    <a:pt x="43" y="223"/>
                    <a:pt x="41" y="224"/>
                    <a:pt x="40" y="224"/>
                  </a:cubicBezTo>
                  <a:cubicBezTo>
                    <a:pt x="34" y="231"/>
                    <a:pt x="25" y="231"/>
                    <a:pt x="18" y="239"/>
                  </a:cubicBezTo>
                  <a:cubicBezTo>
                    <a:pt x="20" y="240"/>
                    <a:pt x="20" y="242"/>
                    <a:pt x="23" y="242"/>
                  </a:cubicBezTo>
                  <a:cubicBezTo>
                    <a:pt x="24" y="239"/>
                    <a:pt x="28" y="238"/>
                    <a:pt x="32" y="238"/>
                  </a:cubicBezTo>
                  <a:cubicBezTo>
                    <a:pt x="35" y="233"/>
                    <a:pt x="40" y="230"/>
                    <a:pt x="48" y="230"/>
                  </a:cubicBezTo>
                  <a:cubicBezTo>
                    <a:pt x="48" y="226"/>
                    <a:pt x="51" y="226"/>
                    <a:pt x="55" y="225"/>
                  </a:cubicBezTo>
                  <a:cubicBezTo>
                    <a:pt x="58" y="219"/>
                    <a:pt x="64" y="216"/>
                    <a:pt x="71" y="213"/>
                  </a:cubicBezTo>
                  <a:cubicBezTo>
                    <a:pt x="70" y="203"/>
                    <a:pt x="87" y="203"/>
                    <a:pt x="88" y="192"/>
                  </a:cubicBezTo>
                  <a:cubicBezTo>
                    <a:pt x="88" y="190"/>
                    <a:pt x="84" y="191"/>
                    <a:pt x="84" y="188"/>
                  </a:cubicBezTo>
                  <a:cubicBezTo>
                    <a:pt x="86" y="187"/>
                    <a:pt x="85" y="183"/>
                    <a:pt x="90" y="184"/>
                  </a:cubicBezTo>
                  <a:cubicBezTo>
                    <a:pt x="92" y="175"/>
                    <a:pt x="99" y="171"/>
                    <a:pt x="104" y="165"/>
                  </a:cubicBezTo>
                  <a:cubicBezTo>
                    <a:pt x="105" y="166"/>
                    <a:pt x="107" y="166"/>
                    <a:pt x="107" y="168"/>
                  </a:cubicBezTo>
                  <a:cubicBezTo>
                    <a:pt x="95" y="169"/>
                    <a:pt x="98" y="183"/>
                    <a:pt x="95" y="191"/>
                  </a:cubicBezTo>
                  <a:cubicBezTo>
                    <a:pt x="105" y="190"/>
                    <a:pt x="106" y="179"/>
                    <a:pt x="117" y="182"/>
                  </a:cubicBezTo>
                  <a:cubicBezTo>
                    <a:pt x="119" y="178"/>
                    <a:pt x="119" y="175"/>
                    <a:pt x="116" y="173"/>
                  </a:cubicBezTo>
                  <a:cubicBezTo>
                    <a:pt x="117" y="171"/>
                    <a:pt x="117" y="167"/>
                    <a:pt x="120" y="167"/>
                  </a:cubicBezTo>
                  <a:cubicBezTo>
                    <a:pt x="126" y="173"/>
                    <a:pt x="135" y="174"/>
                    <a:pt x="139" y="180"/>
                  </a:cubicBezTo>
                  <a:cubicBezTo>
                    <a:pt x="146" y="179"/>
                    <a:pt x="152" y="182"/>
                    <a:pt x="156" y="179"/>
                  </a:cubicBezTo>
                  <a:cubicBezTo>
                    <a:pt x="156" y="186"/>
                    <a:pt x="165" y="183"/>
                    <a:pt x="168" y="183"/>
                  </a:cubicBezTo>
                  <a:cubicBezTo>
                    <a:pt x="167" y="185"/>
                    <a:pt x="165" y="184"/>
                    <a:pt x="165" y="186"/>
                  </a:cubicBezTo>
                  <a:cubicBezTo>
                    <a:pt x="174" y="187"/>
                    <a:pt x="180" y="206"/>
                    <a:pt x="188" y="195"/>
                  </a:cubicBezTo>
                  <a:cubicBezTo>
                    <a:pt x="188" y="199"/>
                    <a:pt x="194" y="201"/>
                    <a:pt x="195" y="197"/>
                  </a:cubicBezTo>
                  <a:cubicBezTo>
                    <a:pt x="198" y="200"/>
                    <a:pt x="203" y="206"/>
                    <a:pt x="202" y="211"/>
                  </a:cubicBezTo>
                  <a:cubicBezTo>
                    <a:pt x="208" y="214"/>
                    <a:pt x="209" y="220"/>
                    <a:pt x="210" y="225"/>
                  </a:cubicBezTo>
                  <a:cubicBezTo>
                    <a:pt x="217" y="223"/>
                    <a:pt x="219" y="228"/>
                    <a:pt x="218" y="235"/>
                  </a:cubicBezTo>
                  <a:cubicBezTo>
                    <a:pt x="223" y="236"/>
                    <a:pt x="221" y="250"/>
                    <a:pt x="227" y="250"/>
                  </a:cubicBezTo>
                  <a:cubicBezTo>
                    <a:pt x="227" y="250"/>
                    <a:pt x="228" y="247"/>
                    <a:pt x="229" y="249"/>
                  </a:cubicBezTo>
                  <a:cubicBezTo>
                    <a:pt x="229" y="252"/>
                    <a:pt x="234" y="258"/>
                    <a:pt x="237" y="261"/>
                  </a:cubicBezTo>
                  <a:cubicBezTo>
                    <a:pt x="235" y="262"/>
                    <a:pt x="234" y="263"/>
                    <a:pt x="234" y="266"/>
                  </a:cubicBezTo>
                  <a:cubicBezTo>
                    <a:pt x="239" y="265"/>
                    <a:pt x="236" y="269"/>
                    <a:pt x="235" y="271"/>
                  </a:cubicBezTo>
                  <a:cubicBezTo>
                    <a:pt x="242" y="273"/>
                    <a:pt x="246" y="277"/>
                    <a:pt x="252" y="278"/>
                  </a:cubicBezTo>
                  <a:cubicBezTo>
                    <a:pt x="255" y="286"/>
                    <a:pt x="271" y="290"/>
                    <a:pt x="265" y="300"/>
                  </a:cubicBezTo>
                  <a:cubicBezTo>
                    <a:pt x="267" y="296"/>
                    <a:pt x="258" y="296"/>
                    <a:pt x="252" y="296"/>
                  </a:cubicBezTo>
                  <a:cubicBezTo>
                    <a:pt x="257" y="310"/>
                    <a:pt x="258" y="328"/>
                    <a:pt x="253" y="341"/>
                  </a:cubicBezTo>
                  <a:cubicBezTo>
                    <a:pt x="254" y="348"/>
                    <a:pt x="257" y="354"/>
                    <a:pt x="254" y="361"/>
                  </a:cubicBezTo>
                  <a:cubicBezTo>
                    <a:pt x="260" y="376"/>
                    <a:pt x="270" y="388"/>
                    <a:pt x="277" y="406"/>
                  </a:cubicBezTo>
                  <a:cubicBezTo>
                    <a:pt x="285" y="406"/>
                    <a:pt x="295" y="409"/>
                    <a:pt x="295" y="419"/>
                  </a:cubicBezTo>
                  <a:cubicBezTo>
                    <a:pt x="301" y="423"/>
                    <a:pt x="302" y="433"/>
                    <a:pt x="306" y="439"/>
                  </a:cubicBezTo>
                  <a:cubicBezTo>
                    <a:pt x="309" y="442"/>
                    <a:pt x="314" y="442"/>
                    <a:pt x="314" y="447"/>
                  </a:cubicBezTo>
                  <a:cubicBezTo>
                    <a:pt x="314" y="449"/>
                    <a:pt x="312" y="449"/>
                    <a:pt x="309" y="449"/>
                  </a:cubicBezTo>
                  <a:cubicBezTo>
                    <a:pt x="311" y="460"/>
                    <a:pt x="328" y="455"/>
                    <a:pt x="326" y="469"/>
                  </a:cubicBezTo>
                  <a:cubicBezTo>
                    <a:pt x="330" y="474"/>
                    <a:pt x="337" y="476"/>
                    <a:pt x="339" y="483"/>
                  </a:cubicBezTo>
                  <a:cubicBezTo>
                    <a:pt x="342" y="482"/>
                    <a:pt x="344" y="481"/>
                    <a:pt x="344" y="478"/>
                  </a:cubicBezTo>
                  <a:cubicBezTo>
                    <a:pt x="342" y="475"/>
                    <a:pt x="339" y="470"/>
                    <a:pt x="337" y="471"/>
                  </a:cubicBezTo>
                  <a:cubicBezTo>
                    <a:pt x="333" y="451"/>
                    <a:pt x="316" y="445"/>
                    <a:pt x="312" y="425"/>
                  </a:cubicBezTo>
                  <a:cubicBezTo>
                    <a:pt x="326" y="427"/>
                    <a:pt x="321" y="447"/>
                    <a:pt x="335" y="450"/>
                  </a:cubicBezTo>
                  <a:cubicBezTo>
                    <a:pt x="335" y="455"/>
                    <a:pt x="340" y="457"/>
                    <a:pt x="343" y="460"/>
                  </a:cubicBezTo>
                  <a:cubicBezTo>
                    <a:pt x="342" y="461"/>
                    <a:pt x="342" y="462"/>
                    <a:pt x="342" y="464"/>
                  </a:cubicBezTo>
                  <a:cubicBezTo>
                    <a:pt x="353" y="471"/>
                    <a:pt x="362" y="481"/>
                    <a:pt x="366" y="492"/>
                  </a:cubicBezTo>
                  <a:cubicBezTo>
                    <a:pt x="365" y="493"/>
                    <a:pt x="364" y="496"/>
                    <a:pt x="363" y="497"/>
                  </a:cubicBezTo>
                  <a:cubicBezTo>
                    <a:pt x="366" y="504"/>
                    <a:pt x="374" y="506"/>
                    <a:pt x="379" y="511"/>
                  </a:cubicBezTo>
                  <a:cubicBezTo>
                    <a:pt x="394" y="515"/>
                    <a:pt x="403" y="525"/>
                    <a:pt x="420" y="526"/>
                  </a:cubicBezTo>
                  <a:cubicBezTo>
                    <a:pt x="431" y="516"/>
                    <a:pt x="436" y="533"/>
                    <a:pt x="448" y="537"/>
                  </a:cubicBezTo>
                  <a:cubicBezTo>
                    <a:pt x="450" y="538"/>
                    <a:pt x="452" y="537"/>
                    <a:pt x="454" y="537"/>
                  </a:cubicBezTo>
                  <a:cubicBezTo>
                    <a:pt x="459" y="538"/>
                    <a:pt x="462" y="543"/>
                    <a:pt x="468" y="541"/>
                  </a:cubicBezTo>
                  <a:cubicBezTo>
                    <a:pt x="471" y="548"/>
                    <a:pt x="481" y="550"/>
                    <a:pt x="479" y="559"/>
                  </a:cubicBezTo>
                  <a:cubicBezTo>
                    <a:pt x="482" y="564"/>
                    <a:pt x="493" y="561"/>
                    <a:pt x="492" y="568"/>
                  </a:cubicBezTo>
                  <a:cubicBezTo>
                    <a:pt x="493" y="570"/>
                    <a:pt x="496" y="569"/>
                    <a:pt x="496" y="572"/>
                  </a:cubicBezTo>
                  <a:cubicBezTo>
                    <a:pt x="501" y="568"/>
                    <a:pt x="506" y="573"/>
                    <a:pt x="509" y="577"/>
                  </a:cubicBezTo>
                  <a:cubicBezTo>
                    <a:pt x="511" y="577"/>
                    <a:pt x="512" y="574"/>
                    <a:pt x="515" y="575"/>
                  </a:cubicBezTo>
                  <a:cubicBezTo>
                    <a:pt x="515" y="572"/>
                    <a:pt x="511" y="573"/>
                    <a:pt x="512" y="569"/>
                  </a:cubicBezTo>
                  <a:cubicBezTo>
                    <a:pt x="516" y="570"/>
                    <a:pt x="514" y="565"/>
                    <a:pt x="518" y="566"/>
                  </a:cubicBezTo>
                  <a:cubicBezTo>
                    <a:pt x="521" y="566"/>
                    <a:pt x="522" y="569"/>
                    <a:pt x="524" y="570"/>
                  </a:cubicBezTo>
                  <a:cubicBezTo>
                    <a:pt x="525" y="580"/>
                    <a:pt x="531" y="591"/>
                    <a:pt x="525" y="602"/>
                  </a:cubicBezTo>
                  <a:cubicBezTo>
                    <a:pt x="524" y="603"/>
                    <a:pt x="522" y="603"/>
                    <a:pt x="520" y="603"/>
                  </a:cubicBezTo>
                  <a:cubicBezTo>
                    <a:pt x="520" y="607"/>
                    <a:pt x="517" y="608"/>
                    <a:pt x="518" y="611"/>
                  </a:cubicBezTo>
                  <a:cubicBezTo>
                    <a:pt x="516" y="611"/>
                    <a:pt x="514" y="613"/>
                    <a:pt x="512" y="613"/>
                  </a:cubicBezTo>
                  <a:cubicBezTo>
                    <a:pt x="511" y="622"/>
                    <a:pt x="507" y="623"/>
                    <a:pt x="507" y="633"/>
                  </a:cubicBezTo>
                  <a:cubicBezTo>
                    <a:pt x="510" y="635"/>
                    <a:pt x="512" y="635"/>
                    <a:pt x="515" y="633"/>
                  </a:cubicBezTo>
                  <a:cubicBezTo>
                    <a:pt x="513" y="639"/>
                    <a:pt x="506" y="639"/>
                    <a:pt x="505" y="644"/>
                  </a:cubicBezTo>
                  <a:cubicBezTo>
                    <a:pt x="504" y="648"/>
                    <a:pt x="507" y="649"/>
                    <a:pt x="508" y="652"/>
                  </a:cubicBezTo>
                  <a:cubicBezTo>
                    <a:pt x="506" y="651"/>
                    <a:pt x="505" y="653"/>
                    <a:pt x="505" y="654"/>
                  </a:cubicBezTo>
                  <a:cubicBezTo>
                    <a:pt x="522" y="661"/>
                    <a:pt x="524" y="683"/>
                    <a:pt x="534" y="697"/>
                  </a:cubicBezTo>
                  <a:cubicBezTo>
                    <a:pt x="538" y="715"/>
                    <a:pt x="559" y="714"/>
                    <a:pt x="568" y="727"/>
                  </a:cubicBezTo>
                  <a:cubicBezTo>
                    <a:pt x="570" y="735"/>
                    <a:pt x="570" y="745"/>
                    <a:pt x="569" y="754"/>
                  </a:cubicBezTo>
                  <a:cubicBezTo>
                    <a:pt x="569" y="755"/>
                    <a:pt x="566" y="754"/>
                    <a:pt x="567" y="757"/>
                  </a:cubicBezTo>
                  <a:cubicBezTo>
                    <a:pt x="571" y="767"/>
                    <a:pt x="562" y="785"/>
                    <a:pt x="563" y="799"/>
                  </a:cubicBezTo>
                  <a:cubicBezTo>
                    <a:pt x="562" y="801"/>
                    <a:pt x="561" y="804"/>
                    <a:pt x="560" y="807"/>
                  </a:cubicBezTo>
                  <a:cubicBezTo>
                    <a:pt x="565" y="823"/>
                    <a:pt x="555" y="834"/>
                    <a:pt x="553" y="849"/>
                  </a:cubicBezTo>
                  <a:cubicBezTo>
                    <a:pt x="552" y="851"/>
                    <a:pt x="548" y="849"/>
                    <a:pt x="549" y="852"/>
                  </a:cubicBezTo>
                  <a:cubicBezTo>
                    <a:pt x="551" y="857"/>
                    <a:pt x="550" y="862"/>
                    <a:pt x="552" y="868"/>
                  </a:cubicBezTo>
                  <a:cubicBezTo>
                    <a:pt x="548" y="872"/>
                    <a:pt x="547" y="880"/>
                    <a:pt x="549" y="886"/>
                  </a:cubicBezTo>
                  <a:cubicBezTo>
                    <a:pt x="544" y="888"/>
                    <a:pt x="546" y="895"/>
                    <a:pt x="547" y="900"/>
                  </a:cubicBezTo>
                  <a:cubicBezTo>
                    <a:pt x="548" y="900"/>
                    <a:pt x="549" y="900"/>
                    <a:pt x="551" y="900"/>
                  </a:cubicBezTo>
                  <a:cubicBezTo>
                    <a:pt x="551" y="893"/>
                    <a:pt x="551" y="891"/>
                    <a:pt x="553" y="886"/>
                  </a:cubicBezTo>
                  <a:cubicBezTo>
                    <a:pt x="560" y="889"/>
                    <a:pt x="547" y="904"/>
                    <a:pt x="556" y="908"/>
                  </a:cubicBezTo>
                  <a:cubicBezTo>
                    <a:pt x="551" y="909"/>
                    <a:pt x="551" y="916"/>
                    <a:pt x="549" y="921"/>
                  </a:cubicBezTo>
                  <a:cubicBezTo>
                    <a:pt x="549" y="918"/>
                    <a:pt x="548" y="917"/>
                    <a:pt x="545" y="917"/>
                  </a:cubicBezTo>
                  <a:cubicBezTo>
                    <a:pt x="543" y="920"/>
                    <a:pt x="540" y="922"/>
                    <a:pt x="539" y="924"/>
                  </a:cubicBezTo>
                  <a:cubicBezTo>
                    <a:pt x="540" y="928"/>
                    <a:pt x="546" y="927"/>
                    <a:pt x="548" y="929"/>
                  </a:cubicBezTo>
                  <a:cubicBezTo>
                    <a:pt x="544" y="928"/>
                    <a:pt x="545" y="932"/>
                    <a:pt x="543" y="933"/>
                  </a:cubicBezTo>
                  <a:cubicBezTo>
                    <a:pt x="549" y="939"/>
                    <a:pt x="542" y="955"/>
                    <a:pt x="549" y="961"/>
                  </a:cubicBezTo>
                  <a:cubicBezTo>
                    <a:pt x="548" y="962"/>
                    <a:pt x="545" y="961"/>
                    <a:pt x="545" y="963"/>
                  </a:cubicBezTo>
                  <a:cubicBezTo>
                    <a:pt x="550" y="966"/>
                    <a:pt x="549" y="976"/>
                    <a:pt x="556" y="975"/>
                  </a:cubicBezTo>
                  <a:cubicBezTo>
                    <a:pt x="554" y="976"/>
                    <a:pt x="555" y="979"/>
                    <a:pt x="557" y="980"/>
                  </a:cubicBezTo>
                  <a:cubicBezTo>
                    <a:pt x="554" y="979"/>
                    <a:pt x="554" y="982"/>
                    <a:pt x="554" y="985"/>
                  </a:cubicBezTo>
                  <a:cubicBezTo>
                    <a:pt x="557" y="984"/>
                    <a:pt x="561" y="984"/>
                    <a:pt x="563" y="982"/>
                  </a:cubicBezTo>
                  <a:cubicBezTo>
                    <a:pt x="562" y="985"/>
                    <a:pt x="560" y="987"/>
                    <a:pt x="559" y="990"/>
                  </a:cubicBezTo>
                  <a:cubicBezTo>
                    <a:pt x="562" y="991"/>
                    <a:pt x="563" y="993"/>
                    <a:pt x="567" y="991"/>
                  </a:cubicBezTo>
                  <a:cubicBezTo>
                    <a:pt x="567" y="990"/>
                    <a:pt x="567" y="988"/>
                    <a:pt x="567" y="986"/>
                  </a:cubicBezTo>
                  <a:cubicBezTo>
                    <a:pt x="569" y="989"/>
                    <a:pt x="571" y="986"/>
                    <a:pt x="572" y="988"/>
                  </a:cubicBezTo>
                  <a:cubicBezTo>
                    <a:pt x="568" y="988"/>
                    <a:pt x="571" y="993"/>
                    <a:pt x="571" y="995"/>
                  </a:cubicBezTo>
                  <a:cubicBezTo>
                    <a:pt x="569" y="995"/>
                    <a:pt x="568" y="995"/>
                    <a:pt x="567" y="996"/>
                  </a:cubicBezTo>
                  <a:cubicBezTo>
                    <a:pt x="567" y="998"/>
                    <a:pt x="567" y="1000"/>
                    <a:pt x="567" y="1002"/>
                  </a:cubicBezTo>
                  <a:cubicBezTo>
                    <a:pt x="573" y="1001"/>
                    <a:pt x="572" y="1001"/>
                    <a:pt x="579" y="1002"/>
                  </a:cubicBezTo>
                  <a:cubicBezTo>
                    <a:pt x="582" y="996"/>
                    <a:pt x="577" y="980"/>
                    <a:pt x="581" y="977"/>
                  </a:cubicBezTo>
                  <a:cubicBezTo>
                    <a:pt x="579" y="972"/>
                    <a:pt x="575" y="966"/>
                    <a:pt x="578" y="958"/>
                  </a:cubicBezTo>
                  <a:cubicBezTo>
                    <a:pt x="588" y="956"/>
                    <a:pt x="584" y="939"/>
                    <a:pt x="595" y="938"/>
                  </a:cubicBezTo>
                  <a:cubicBezTo>
                    <a:pt x="596" y="935"/>
                    <a:pt x="598" y="934"/>
                    <a:pt x="597" y="929"/>
                  </a:cubicBezTo>
                  <a:cubicBezTo>
                    <a:pt x="585" y="930"/>
                    <a:pt x="584" y="910"/>
                    <a:pt x="598" y="911"/>
                  </a:cubicBezTo>
                  <a:cubicBezTo>
                    <a:pt x="598" y="905"/>
                    <a:pt x="601" y="894"/>
                    <a:pt x="609" y="894"/>
                  </a:cubicBezTo>
                  <a:cubicBezTo>
                    <a:pt x="609" y="892"/>
                    <a:pt x="609" y="890"/>
                    <a:pt x="609" y="887"/>
                  </a:cubicBezTo>
                  <a:cubicBezTo>
                    <a:pt x="605" y="886"/>
                    <a:pt x="606" y="890"/>
                    <a:pt x="602" y="890"/>
                  </a:cubicBezTo>
                  <a:cubicBezTo>
                    <a:pt x="601" y="886"/>
                    <a:pt x="602" y="884"/>
                    <a:pt x="600" y="879"/>
                  </a:cubicBezTo>
                  <a:cubicBezTo>
                    <a:pt x="605" y="881"/>
                    <a:pt x="614" y="883"/>
                    <a:pt x="618" y="878"/>
                  </a:cubicBezTo>
                  <a:cubicBezTo>
                    <a:pt x="615" y="872"/>
                    <a:pt x="620" y="869"/>
                    <a:pt x="617" y="864"/>
                  </a:cubicBezTo>
                  <a:cubicBezTo>
                    <a:pt x="633" y="867"/>
                    <a:pt x="647" y="861"/>
                    <a:pt x="650" y="848"/>
                  </a:cubicBezTo>
                  <a:cubicBezTo>
                    <a:pt x="648" y="844"/>
                    <a:pt x="644" y="842"/>
                    <a:pt x="646" y="837"/>
                  </a:cubicBezTo>
                  <a:cubicBezTo>
                    <a:pt x="645" y="835"/>
                    <a:pt x="639" y="833"/>
                    <a:pt x="640" y="831"/>
                  </a:cubicBezTo>
                  <a:cubicBezTo>
                    <a:pt x="644" y="833"/>
                    <a:pt x="649" y="832"/>
                    <a:pt x="652" y="836"/>
                  </a:cubicBezTo>
                  <a:cubicBezTo>
                    <a:pt x="667" y="836"/>
                    <a:pt x="673" y="823"/>
                    <a:pt x="679" y="811"/>
                  </a:cubicBezTo>
                  <a:cubicBezTo>
                    <a:pt x="679" y="813"/>
                    <a:pt x="677" y="812"/>
                    <a:pt x="679" y="814"/>
                  </a:cubicBezTo>
                  <a:cubicBezTo>
                    <a:pt x="684" y="811"/>
                    <a:pt x="688" y="806"/>
                    <a:pt x="689" y="798"/>
                  </a:cubicBezTo>
                  <a:cubicBezTo>
                    <a:pt x="698" y="794"/>
                    <a:pt x="697" y="783"/>
                    <a:pt x="698" y="771"/>
                  </a:cubicBezTo>
                  <a:cubicBezTo>
                    <a:pt x="702" y="768"/>
                    <a:pt x="706" y="764"/>
                    <a:pt x="712" y="761"/>
                  </a:cubicBezTo>
                  <a:cubicBezTo>
                    <a:pt x="713" y="761"/>
                    <a:pt x="713" y="762"/>
                    <a:pt x="715" y="762"/>
                  </a:cubicBezTo>
                  <a:cubicBezTo>
                    <a:pt x="717" y="755"/>
                    <a:pt x="726" y="756"/>
                    <a:pt x="735" y="756"/>
                  </a:cubicBezTo>
                  <a:cubicBezTo>
                    <a:pt x="735" y="753"/>
                    <a:pt x="737" y="751"/>
                    <a:pt x="741" y="750"/>
                  </a:cubicBezTo>
                  <a:cubicBezTo>
                    <a:pt x="739" y="741"/>
                    <a:pt x="752" y="738"/>
                    <a:pt x="748" y="727"/>
                  </a:cubicBezTo>
                  <a:cubicBezTo>
                    <a:pt x="756" y="722"/>
                    <a:pt x="751" y="707"/>
                    <a:pt x="753" y="695"/>
                  </a:cubicBezTo>
                  <a:cubicBezTo>
                    <a:pt x="759" y="694"/>
                    <a:pt x="761" y="689"/>
                    <a:pt x="762" y="683"/>
                  </a:cubicBezTo>
                  <a:cubicBezTo>
                    <a:pt x="774" y="679"/>
                    <a:pt x="781" y="661"/>
                    <a:pt x="773" y="647"/>
                  </a:cubicBezTo>
                  <a:cubicBezTo>
                    <a:pt x="759" y="649"/>
                    <a:pt x="755" y="635"/>
                    <a:pt x="745" y="633"/>
                  </a:cubicBezTo>
                  <a:close/>
                  <a:moveTo>
                    <a:pt x="351" y="89"/>
                  </a:moveTo>
                  <a:cubicBezTo>
                    <a:pt x="350" y="86"/>
                    <a:pt x="352" y="86"/>
                    <a:pt x="352" y="84"/>
                  </a:cubicBezTo>
                  <a:cubicBezTo>
                    <a:pt x="354" y="85"/>
                    <a:pt x="353" y="88"/>
                    <a:pt x="356" y="88"/>
                  </a:cubicBezTo>
                  <a:cubicBezTo>
                    <a:pt x="354" y="89"/>
                    <a:pt x="351" y="90"/>
                    <a:pt x="351" y="89"/>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2" name="Freeform 188"/>
            <p:cNvSpPr>
              <a:spLocks/>
            </p:cNvSpPr>
            <p:nvPr/>
          </p:nvSpPr>
          <p:spPr bwMode="auto">
            <a:xfrm>
              <a:off x="6948062" y="4417864"/>
              <a:ext cx="55220" cy="64723"/>
            </a:xfrm>
            <a:custGeom>
              <a:avLst/>
              <a:gdLst>
                <a:gd name="T0" fmla="*/ 12 w 16"/>
                <a:gd name="T1" fmla="*/ 1 h 18"/>
                <a:gd name="T2" fmla="*/ 0 w 16"/>
                <a:gd name="T3" fmla="*/ 18 h 18"/>
                <a:gd name="T4" fmla="*/ 9 w 16"/>
                <a:gd name="T5" fmla="*/ 8 h 18"/>
                <a:gd name="T6" fmla="*/ 16 w 16"/>
                <a:gd name="T7" fmla="*/ 5 h 18"/>
                <a:gd name="T8" fmla="*/ 12 w 16"/>
                <a:gd name="T9" fmla="*/ 1 h 18"/>
              </a:gdLst>
              <a:ahLst/>
              <a:cxnLst>
                <a:cxn ang="0">
                  <a:pos x="T0" y="T1"/>
                </a:cxn>
                <a:cxn ang="0">
                  <a:pos x="T2" y="T3"/>
                </a:cxn>
                <a:cxn ang="0">
                  <a:pos x="T4" y="T5"/>
                </a:cxn>
                <a:cxn ang="0">
                  <a:pos x="T6" y="T7"/>
                </a:cxn>
                <a:cxn ang="0">
                  <a:pos x="T8" y="T9"/>
                </a:cxn>
              </a:cxnLst>
              <a:rect l="0" t="0" r="r" b="b"/>
              <a:pathLst>
                <a:path w="16" h="18">
                  <a:moveTo>
                    <a:pt x="12" y="1"/>
                  </a:moveTo>
                  <a:cubicBezTo>
                    <a:pt x="12" y="10"/>
                    <a:pt x="2" y="10"/>
                    <a:pt x="0" y="18"/>
                  </a:cubicBezTo>
                  <a:cubicBezTo>
                    <a:pt x="4" y="16"/>
                    <a:pt x="9" y="14"/>
                    <a:pt x="9" y="8"/>
                  </a:cubicBezTo>
                  <a:cubicBezTo>
                    <a:pt x="13" y="9"/>
                    <a:pt x="14" y="7"/>
                    <a:pt x="16" y="5"/>
                  </a:cubicBezTo>
                  <a:cubicBezTo>
                    <a:pt x="13" y="5"/>
                    <a:pt x="15" y="0"/>
                    <a:pt x="12" y="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3" name="Freeform 189"/>
            <p:cNvSpPr>
              <a:spLocks/>
            </p:cNvSpPr>
            <p:nvPr/>
          </p:nvSpPr>
          <p:spPr bwMode="auto">
            <a:xfrm>
              <a:off x="2818222" y="2327176"/>
              <a:ext cx="587070" cy="696896"/>
            </a:xfrm>
            <a:custGeom>
              <a:avLst/>
              <a:gdLst>
                <a:gd name="T0" fmla="*/ 99 w 171"/>
                <a:gd name="T1" fmla="*/ 54 h 196"/>
                <a:gd name="T2" fmla="*/ 89 w 171"/>
                <a:gd name="T3" fmla="*/ 50 h 196"/>
                <a:gd name="T4" fmla="*/ 86 w 171"/>
                <a:gd name="T5" fmla="*/ 29 h 196"/>
                <a:gd name="T6" fmla="*/ 66 w 171"/>
                <a:gd name="T7" fmla="*/ 35 h 196"/>
                <a:gd name="T8" fmla="*/ 55 w 171"/>
                <a:gd name="T9" fmla="*/ 41 h 196"/>
                <a:gd name="T10" fmla="*/ 30 w 171"/>
                <a:gd name="T11" fmla="*/ 14 h 196"/>
                <a:gd name="T12" fmla="*/ 28 w 171"/>
                <a:gd name="T13" fmla="*/ 20 h 196"/>
                <a:gd name="T14" fmla="*/ 29 w 171"/>
                <a:gd name="T15" fmla="*/ 35 h 196"/>
                <a:gd name="T16" fmla="*/ 27 w 171"/>
                <a:gd name="T17" fmla="*/ 56 h 196"/>
                <a:gd name="T18" fmla="*/ 24 w 171"/>
                <a:gd name="T19" fmla="*/ 32 h 196"/>
                <a:gd name="T20" fmla="*/ 1 w 171"/>
                <a:gd name="T21" fmla="*/ 35 h 196"/>
                <a:gd name="T22" fmla="*/ 0 w 171"/>
                <a:gd name="T23" fmla="*/ 51 h 196"/>
                <a:gd name="T24" fmla="*/ 5 w 171"/>
                <a:gd name="T25" fmla="*/ 60 h 196"/>
                <a:gd name="T26" fmla="*/ 21 w 171"/>
                <a:gd name="T27" fmla="*/ 74 h 196"/>
                <a:gd name="T28" fmla="*/ 54 w 171"/>
                <a:gd name="T29" fmla="*/ 75 h 196"/>
                <a:gd name="T30" fmla="*/ 57 w 171"/>
                <a:gd name="T31" fmla="*/ 65 h 196"/>
                <a:gd name="T32" fmla="*/ 85 w 171"/>
                <a:gd name="T33" fmla="*/ 91 h 196"/>
                <a:gd name="T34" fmla="*/ 79 w 171"/>
                <a:gd name="T35" fmla="*/ 100 h 196"/>
                <a:gd name="T36" fmla="*/ 103 w 171"/>
                <a:gd name="T37" fmla="*/ 121 h 196"/>
                <a:gd name="T38" fmla="*/ 97 w 171"/>
                <a:gd name="T39" fmla="*/ 147 h 196"/>
                <a:gd name="T40" fmla="*/ 74 w 171"/>
                <a:gd name="T41" fmla="*/ 148 h 196"/>
                <a:gd name="T42" fmla="*/ 82 w 171"/>
                <a:gd name="T43" fmla="*/ 165 h 196"/>
                <a:gd name="T44" fmla="*/ 92 w 171"/>
                <a:gd name="T45" fmla="*/ 164 h 196"/>
                <a:gd name="T46" fmla="*/ 99 w 171"/>
                <a:gd name="T47" fmla="*/ 161 h 196"/>
                <a:gd name="T48" fmla="*/ 107 w 171"/>
                <a:gd name="T49" fmla="*/ 178 h 196"/>
                <a:gd name="T50" fmla="*/ 126 w 171"/>
                <a:gd name="T51" fmla="*/ 172 h 196"/>
                <a:gd name="T52" fmla="*/ 148 w 171"/>
                <a:gd name="T53" fmla="*/ 176 h 196"/>
                <a:gd name="T54" fmla="*/ 145 w 171"/>
                <a:gd name="T55" fmla="*/ 164 h 196"/>
                <a:gd name="T56" fmla="*/ 136 w 171"/>
                <a:gd name="T57" fmla="*/ 154 h 196"/>
                <a:gd name="T58" fmla="*/ 135 w 171"/>
                <a:gd name="T59" fmla="*/ 141 h 196"/>
                <a:gd name="T60" fmla="*/ 135 w 171"/>
                <a:gd name="T61" fmla="*/ 132 h 196"/>
                <a:gd name="T62" fmla="*/ 146 w 171"/>
                <a:gd name="T63" fmla="*/ 150 h 196"/>
                <a:gd name="T64" fmla="*/ 156 w 171"/>
                <a:gd name="T65" fmla="*/ 155 h 196"/>
                <a:gd name="T66" fmla="*/ 165 w 171"/>
                <a:gd name="T67" fmla="*/ 141 h 196"/>
                <a:gd name="T68" fmla="*/ 169 w 171"/>
                <a:gd name="T69" fmla="*/ 136 h 196"/>
                <a:gd name="T70" fmla="*/ 159 w 171"/>
                <a:gd name="T71" fmla="*/ 126 h 196"/>
                <a:gd name="T72" fmla="*/ 150 w 171"/>
                <a:gd name="T73" fmla="*/ 122 h 196"/>
                <a:gd name="T74" fmla="*/ 136 w 171"/>
                <a:gd name="T75" fmla="*/ 109 h 196"/>
                <a:gd name="T76" fmla="*/ 128 w 171"/>
                <a:gd name="T77" fmla="*/ 89 h 196"/>
                <a:gd name="T78" fmla="*/ 129 w 171"/>
                <a:gd name="T79" fmla="*/ 83 h 196"/>
                <a:gd name="T80" fmla="*/ 130 w 171"/>
                <a:gd name="T81" fmla="*/ 71 h 196"/>
                <a:gd name="T82" fmla="*/ 127 w 171"/>
                <a:gd name="T83" fmla="*/ 69 h 196"/>
                <a:gd name="T84" fmla="*/ 116 w 171"/>
                <a:gd name="T85" fmla="*/ 65 h 196"/>
                <a:gd name="T86" fmla="*/ 108 w 171"/>
                <a:gd name="T87" fmla="*/ 59 h 196"/>
                <a:gd name="T88" fmla="*/ 103 w 171"/>
                <a:gd name="T89" fmla="*/ 47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1" h="196">
                  <a:moveTo>
                    <a:pt x="103" y="47"/>
                  </a:moveTo>
                  <a:cubicBezTo>
                    <a:pt x="101" y="49"/>
                    <a:pt x="100" y="52"/>
                    <a:pt x="99" y="54"/>
                  </a:cubicBezTo>
                  <a:cubicBezTo>
                    <a:pt x="97" y="51"/>
                    <a:pt x="97" y="47"/>
                    <a:pt x="94" y="46"/>
                  </a:cubicBezTo>
                  <a:cubicBezTo>
                    <a:pt x="91" y="46"/>
                    <a:pt x="90" y="52"/>
                    <a:pt x="89" y="50"/>
                  </a:cubicBezTo>
                  <a:cubicBezTo>
                    <a:pt x="89" y="46"/>
                    <a:pt x="93" y="45"/>
                    <a:pt x="94" y="42"/>
                  </a:cubicBezTo>
                  <a:cubicBezTo>
                    <a:pt x="91" y="37"/>
                    <a:pt x="89" y="33"/>
                    <a:pt x="86" y="29"/>
                  </a:cubicBezTo>
                  <a:cubicBezTo>
                    <a:pt x="73" y="25"/>
                    <a:pt x="65" y="28"/>
                    <a:pt x="66" y="42"/>
                  </a:cubicBezTo>
                  <a:cubicBezTo>
                    <a:pt x="65" y="40"/>
                    <a:pt x="66" y="37"/>
                    <a:pt x="66" y="35"/>
                  </a:cubicBezTo>
                  <a:cubicBezTo>
                    <a:pt x="64" y="34"/>
                    <a:pt x="63" y="33"/>
                    <a:pt x="61" y="33"/>
                  </a:cubicBezTo>
                  <a:cubicBezTo>
                    <a:pt x="58" y="35"/>
                    <a:pt x="59" y="41"/>
                    <a:pt x="55" y="41"/>
                  </a:cubicBezTo>
                  <a:cubicBezTo>
                    <a:pt x="58" y="26"/>
                    <a:pt x="58" y="17"/>
                    <a:pt x="51" y="7"/>
                  </a:cubicBezTo>
                  <a:cubicBezTo>
                    <a:pt x="42" y="3"/>
                    <a:pt x="36" y="10"/>
                    <a:pt x="30" y="14"/>
                  </a:cubicBezTo>
                  <a:cubicBezTo>
                    <a:pt x="30" y="17"/>
                    <a:pt x="35" y="18"/>
                    <a:pt x="33" y="20"/>
                  </a:cubicBezTo>
                  <a:cubicBezTo>
                    <a:pt x="31" y="21"/>
                    <a:pt x="30" y="19"/>
                    <a:pt x="28" y="20"/>
                  </a:cubicBezTo>
                  <a:cubicBezTo>
                    <a:pt x="22" y="27"/>
                    <a:pt x="31" y="35"/>
                    <a:pt x="33" y="37"/>
                  </a:cubicBezTo>
                  <a:cubicBezTo>
                    <a:pt x="31" y="36"/>
                    <a:pt x="31" y="35"/>
                    <a:pt x="29" y="35"/>
                  </a:cubicBezTo>
                  <a:cubicBezTo>
                    <a:pt x="23" y="41"/>
                    <a:pt x="29" y="47"/>
                    <a:pt x="33" y="51"/>
                  </a:cubicBezTo>
                  <a:cubicBezTo>
                    <a:pt x="33" y="55"/>
                    <a:pt x="30" y="59"/>
                    <a:pt x="27" y="56"/>
                  </a:cubicBezTo>
                  <a:cubicBezTo>
                    <a:pt x="27" y="53"/>
                    <a:pt x="31" y="55"/>
                    <a:pt x="30" y="51"/>
                  </a:cubicBezTo>
                  <a:cubicBezTo>
                    <a:pt x="27" y="46"/>
                    <a:pt x="21" y="40"/>
                    <a:pt x="24" y="32"/>
                  </a:cubicBezTo>
                  <a:cubicBezTo>
                    <a:pt x="16" y="23"/>
                    <a:pt x="28" y="14"/>
                    <a:pt x="30" y="5"/>
                  </a:cubicBezTo>
                  <a:cubicBezTo>
                    <a:pt x="11" y="0"/>
                    <a:pt x="3" y="18"/>
                    <a:pt x="1" y="35"/>
                  </a:cubicBezTo>
                  <a:cubicBezTo>
                    <a:pt x="2" y="37"/>
                    <a:pt x="4" y="38"/>
                    <a:pt x="5" y="40"/>
                  </a:cubicBezTo>
                  <a:cubicBezTo>
                    <a:pt x="0" y="40"/>
                    <a:pt x="1" y="46"/>
                    <a:pt x="0" y="51"/>
                  </a:cubicBezTo>
                  <a:cubicBezTo>
                    <a:pt x="5" y="54"/>
                    <a:pt x="16" y="52"/>
                    <a:pt x="16" y="60"/>
                  </a:cubicBezTo>
                  <a:cubicBezTo>
                    <a:pt x="13" y="60"/>
                    <a:pt x="9" y="58"/>
                    <a:pt x="5" y="60"/>
                  </a:cubicBezTo>
                  <a:cubicBezTo>
                    <a:pt x="4" y="70"/>
                    <a:pt x="16" y="76"/>
                    <a:pt x="21" y="69"/>
                  </a:cubicBezTo>
                  <a:cubicBezTo>
                    <a:pt x="21" y="71"/>
                    <a:pt x="21" y="73"/>
                    <a:pt x="21" y="74"/>
                  </a:cubicBezTo>
                  <a:cubicBezTo>
                    <a:pt x="33" y="80"/>
                    <a:pt x="48" y="76"/>
                    <a:pt x="56" y="84"/>
                  </a:cubicBezTo>
                  <a:cubicBezTo>
                    <a:pt x="56" y="80"/>
                    <a:pt x="54" y="79"/>
                    <a:pt x="54" y="75"/>
                  </a:cubicBezTo>
                  <a:cubicBezTo>
                    <a:pt x="59" y="80"/>
                    <a:pt x="68" y="83"/>
                    <a:pt x="68" y="75"/>
                  </a:cubicBezTo>
                  <a:cubicBezTo>
                    <a:pt x="68" y="70"/>
                    <a:pt x="60" y="70"/>
                    <a:pt x="57" y="65"/>
                  </a:cubicBezTo>
                  <a:cubicBezTo>
                    <a:pt x="63" y="69"/>
                    <a:pt x="72" y="70"/>
                    <a:pt x="72" y="79"/>
                  </a:cubicBezTo>
                  <a:cubicBezTo>
                    <a:pt x="78" y="82"/>
                    <a:pt x="81" y="87"/>
                    <a:pt x="85" y="91"/>
                  </a:cubicBezTo>
                  <a:cubicBezTo>
                    <a:pt x="83" y="92"/>
                    <a:pt x="80" y="92"/>
                    <a:pt x="78" y="93"/>
                  </a:cubicBezTo>
                  <a:cubicBezTo>
                    <a:pt x="77" y="96"/>
                    <a:pt x="79" y="97"/>
                    <a:pt x="79" y="100"/>
                  </a:cubicBezTo>
                  <a:cubicBezTo>
                    <a:pt x="82" y="99"/>
                    <a:pt x="88" y="96"/>
                    <a:pt x="90" y="96"/>
                  </a:cubicBezTo>
                  <a:cubicBezTo>
                    <a:pt x="92" y="107"/>
                    <a:pt x="103" y="108"/>
                    <a:pt x="103" y="121"/>
                  </a:cubicBezTo>
                  <a:cubicBezTo>
                    <a:pt x="100" y="127"/>
                    <a:pt x="97" y="133"/>
                    <a:pt x="91" y="137"/>
                  </a:cubicBezTo>
                  <a:cubicBezTo>
                    <a:pt x="92" y="141"/>
                    <a:pt x="95" y="143"/>
                    <a:pt x="97" y="147"/>
                  </a:cubicBezTo>
                  <a:cubicBezTo>
                    <a:pt x="93" y="146"/>
                    <a:pt x="88" y="149"/>
                    <a:pt x="85" y="151"/>
                  </a:cubicBezTo>
                  <a:cubicBezTo>
                    <a:pt x="83" y="148"/>
                    <a:pt x="79" y="147"/>
                    <a:pt x="74" y="148"/>
                  </a:cubicBezTo>
                  <a:cubicBezTo>
                    <a:pt x="76" y="155"/>
                    <a:pt x="67" y="152"/>
                    <a:pt x="70" y="161"/>
                  </a:cubicBezTo>
                  <a:cubicBezTo>
                    <a:pt x="73" y="164"/>
                    <a:pt x="77" y="165"/>
                    <a:pt x="82" y="165"/>
                  </a:cubicBezTo>
                  <a:cubicBezTo>
                    <a:pt x="84" y="165"/>
                    <a:pt x="84" y="162"/>
                    <a:pt x="86" y="161"/>
                  </a:cubicBezTo>
                  <a:cubicBezTo>
                    <a:pt x="88" y="162"/>
                    <a:pt x="90" y="163"/>
                    <a:pt x="92" y="164"/>
                  </a:cubicBezTo>
                  <a:cubicBezTo>
                    <a:pt x="94" y="163"/>
                    <a:pt x="92" y="159"/>
                    <a:pt x="94" y="159"/>
                  </a:cubicBezTo>
                  <a:cubicBezTo>
                    <a:pt x="94" y="161"/>
                    <a:pt x="98" y="159"/>
                    <a:pt x="99" y="161"/>
                  </a:cubicBezTo>
                  <a:cubicBezTo>
                    <a:pt x="98" y="169"/>
                    <a:pt x="105" y="169"/>
                    <a:pt x="108" y="173"/>
                  </a:cubicBezTo>
                  <a:cubicBezTo>
                    <a:pt x="108" y="175"/>
                    <a:pt x="106" y="176"/>
                    <a:pt x="107" y="178"/>
                  </a:cubicBezTo>
                  <a:cubicBezTo>
                    <a:pt x="118" y="185"/>
                    <a:pt x="128" y="193"/>
                    <a:pt x="142" y="196"/>
                  </a:cubicBezTo>
                  <a:cubicBezTo>
                    <a:pt x="142" y="184"/>
                    <a:pt x="128" y="180"/>
                    <a:pt x="126" y="172"/>
                  </a:cubicBezTo>
                  <a:cubicBezTo>
                    <a:pt x="134" y="176"/>
                    <a:pt x="141" y="183"/>
                    <a:pt x="150" y="189"/>
                  </a:cubicBezTo>
                  <a:cubicBezTo>
                    <a:pt x="146" y="184"/>
                    <a:pt x="150" y="182"/>
                    <a:pt x="148" y="176"/>
                  </a:cubicBezTo>
                  <a:cubicBezTo>
                    <a:pt x="149" y="177"/>
                    <a:pt x="149" y="179"/>
                    <a:pt x="151" y="179"/>
                  </a:cubicBezTo>
                  <a:cubicBezTo>
                    <a:pt x="153" y="171"/>
                    <a:pt x="149" y="168"/>
                    <a:pt x="145" y="164"/>
                  </a:cubicBezTo>
                  <a:cubicBezTo>
                    <a:pt x="146" y="163"/>
                    <a:pt x="148" y="163"/>
                    <a:pt x="147" y="161"/>
                  </a:cubicBezTo>
                  <a:cubicBezTo>
                    <a:pt x="142" y="160"/>
                    <a:pt x="141" y="153"/>
                    <a:pt x="136" y="154"/>
                  </a:cubicBezTo>
                  <a:cubicBezTo>
                    <a:pt x="136" y="147"/>
                    <a:pt x="132" y="146"/>
                    <a:pt x="130" y="141"/>
                  </a:cubicBezTo>
                  <a:cubicBezTo>
                    <a:pt x="131" y="143"/>
                    <a:pt x="133" y="142"/>
                    <a:pt x="135" y="141"/>
                  </a:cubicBezTo>
                  <a:cubicBezTo>
                    <a:pt x="134" y="138"/>
                    <a:pt x="132" y="136"/>
                    <a:pt x="131" y="134"/>
                  </a:cubicBezTo>
                  <a:cubicBezTo>
                    <a:pt x="133" y="134"/>
                    <a:pt x="133" y="132"/>
                    <a:pt x="135" y="132"/>
                  </a:cubicBezTo>
                  <a:cubicBezTo>
                    <a:pt x="138" y="135"/>
                    <a:pt x="140" y="139"/>
                    <a:pt x="145" y="141"/>
                  </a:cubicBezTo>
                  <a:cubicBezTo>
                    <a:pt x="143" y="146"/>
                    <a:pt x="145" y="146"/>
                    <a:pt x="146" y="150"/>
                  </a:cubicBezTo>
                  <a:cubicBezTo>
                    <a:pt x="149" y="150"/>
                    <a:pt x="148" y="148"/>
                    <a:pt x="150" y="149"/>
                  </a:cubicBezTo>
                  <a:cubicBezTo>
                    <a:pt x="150" y="153"/>
                    <a:pt x="154" y="154"/>
                    <a:pt x="156" y="155"/>
                  </a:cubicBezTo>
                  <a:cubicBezTo>
                    <a:pt x="159" y="153"/>
                    <a:pt x="154" y="146"/>
                    <a:pt x="158" y="145"/>
                  </a:cubicBezTo>
                  <a:cubicBezTo>
                    <a:pt x="160" y="149"/>
                    <a:pt x="162" y="141"/>
                    <a:pt x="165" y="141"/>
                  </a:cubicBezTo>
                  <a:cubicBezTo>
                    <a:pt x="166" y="139"/>
                    <a:pt x="162" y="137"/>
                    <a:pt x="164" y="135"/>
                  </a:cubicBezTo>
                  <a:cubicBezTo>
                    <a:pt x="165" y="136"/>
                    <a:pt x="167" y="136"/>
                    <a:pt x="169" y="136"/>
                  </a:cubicBezTo>
                  <a:cubicBezTo>
                    <a:pt x="171" y="130"/>
                    <a:pt x="166" y="128"/>
                    <a:pt x="164" y="124"/>
                  </a:cubicBezTo>
                  <a:cubicBezTo>
                    <a:pt x="161" y="124"/>
                    <a:pt x="162" y="127"/>
                    <a:pt x="159" y="126"/>
                  </a:cubicBezTo>
                  <a:cubicBezTo>
                    <a:pt x="159" y="124"/>
                    <a:pt x="160" y="124"/>
                    <a:pt x="160" y="121"/>
                  </a:cubicBezTo>
                  <a:cubicBezTo>
                    <a:pt x="156" y="121"/>
                    <a:pt x="152" y="124"/>
                    <a:pt x="150" y="122"/>
                  </a:cubicBezTo>
                  <a:cubicBezTo>
                    <a:pt x="150" y="120"/>
                    <a:pt x="154" y="121"/>
                    <a:pt x="154" y="118"/>
                  </a:cubicBezTo>
                  <a:cubicBezTo>
                    <a:pt x="151" y="110"/>
                    <a:pt x="145" y="110"/>
                    <a:pt x="136" y="109"/>
                  </a:cubicBezTo>
                  <a:cubicBezTo>
                    <a:pt x="137" y="102"/>
                    <a:pt x="129" y="102"/>
                    <a:pt x="127" y="98"/>
                  </a:cubicBezTo>
                  <a:cubicBezTo>
                    <a:pt x="133" y="97"/>
                    <a:pt x="127" y="91"/>
                    <a:pt x="128" y="89"/>
                  </a:cubicBezTo>
                  <a:cubicBezTo>
                    <a:pt x="130" y="92"/>
                    <a:pt x="134" y="92"/>
                    <a:pt x="138" y="92"/>
                  </a:cubicBezTo>
                  <a:cubicBezTo>
                    <a:pt x="138" y="86"/>
                    <a:pt x="132" y="85"/>
                    <a:pt x="129" y="83"/>
                  </a:cubicBezTo>
                  <a:cubicBezTo>
                    <a:pt x="130" y="81"/>
                    <a:pt x="134" y="82"/>
                    <a:pt x="136" y="82"/>
                  </a:cubicBezTo>
                  <a:cubicBezTo>
                    <a:pt x="135" y="77"/>
                    <a:pt x="133" y="74"/>
                    <a:pt x="130" y="71"/>
                  </a:cubicBezTo>
                  <a:cubicBezTo>
                    <a:pt x="127" y="72"/>
                    <a:pt x="123" y="77"/>
                    <a:pt x="121" y="76"/>
                  </a:cubicBezTo>
                  <a:cubicBezTo>
                    <a:pt x="122" y="72"/>
                    <a:pt x="126" y="72"/>
                    <a:pt x="127" y="69"/>
                  </a:cubicBezTo>
                  <a:cubicBezTo>
                    <a:pt x="127" y="65"/>
                    <a:pt x="125" y="63"/>
                    <a:pt x="122" y="63"/>
                  </a:cubicBezTo>
                  <a:cubicBezTo>
                    <a:pt x="118" y="63"/>
                    <a:pt x="118" y="65"/>
                    <a:pt x="116" y="65"/>
                  </a:cubicBezTo>
                  <a:cubicBezTo>
                    <a:pt x="114" y="64"/>
                    <a:pt x="114" y="61"/>
                    <a:pt x="114" y="57"/>
                  </a:cubicBezTo>
                  <a:cubicBezTo>
                    <a:pt x="112" y="57"/>
                    <a:pt x="109" y="60"/>
                    <a:pt x="108" y="59"/>
                  </a:cubicBezTo>
                  <a:cubicBezTo>
                    <a:pt x="110" y="57"/>
                    <a:pt x="111" y="56"/>
                    <a:pt x="111" y="53"/>
                  </a:cubicBezTo>
                  <a:cubicBezTo>
                    <a:pt x="110" y="49"/>
                    <a:pt x="106" y="49"/>
                    <a:pt x="103" y="4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4" name="Freeform 190"/>
            <p:cNvSpPr>
              <a:spLocks noEditPoints="1"/>
            </p:cNvSpPr>
            <p:nvPr/>
          </p:nvSpPr>
          <p:spPr bwMode="auto">
            <a:xfrm>
              <a:off x="4267009" y="2024636"/>
              <a:ext cx="4140012" cy="3403201"/>
            </a:xfrm>
            <a:custGeom>
              <a:avLst/>
              <a:gdLst>
                <a:gd name="T0" fmla="*/ 1084 w 1206"/>
                <a:gd name="T1" fmla="*/ 183 h 957"/>
                <a:gd name="T2" fmla="*/ 972 w 1206"/>
                <a:gd name="T3" fmla="*/ 128 h 957"/>
                <a:gd name="T4" fmla="*/ 905 w 1206"/>
                <a:gd name="T5" fmla="*/ 133 h 957"/>
                <a:gd name="T6" fmla="*/ 815 w 1206"/>
                <a:gd name="T7" fmla="*/ 111 h 957"/>
                <a:gd name="T8" fmla="*/ 762 w 1206"/>
                <a:gd name="T9" fmla="*/ 39 h 957"/>
                <a:gd name="T10" fmla="*/ 674 w 1206"/>
                <a:gd name="T11" fmla="*/ 39 h 957"/>
                <a:gd name="T12" fmla="*/ 568 w 1206"/>
                <a:gd name="T13" fmla="*/ 99 h 957"/>
                <a:gd name="T14" fmla="*/ 554 w 1206"/>
                <a:gd name="T15" fmla="*/ 130 h 957"/>
                <a:gd name="T16" fmla="*/ 530 w 1206"/>
                <a:gd name="T17" fmla="*/ 177 h 957"/>
                <a:gd name="T18" fmla="*/ 517 w 1206"/>
                <a:gd name="T19" fmla="*/ 211 h 957"/>
                <a:gd name="T20" fmla="*/ 488 w 1206"/>
                <a:gd name="T21" fmla="*/ 168 h 957"/>
                <a:gd name="T22" fmla="*/ 419 w 1206"/>
                <a:gd name="T23" fmla="*/ 192 h 957"/>
                <a:gd name="T24" fmla="*/ 355 w 1206"/>
                <a:gd name="T25" fmla="*/ 206 h 957"/>
                <a:gd name="T26" fmla="*/ 291 w 1206"/>
                <a:gd name="T27" fmla="*/ 211 h 957"/>
                <a:gd name="T28" fmla="*/ 269 w 1206"/>
                <a:gd name="T29" fmla="*/ 146 h 957"/>
                <a:gd name="T30" fmla="*/ 225 w 1206"/>
                <a:gd name="T31" fmla="*/ 161 h 957"/>
                <a:gd name="T32" fmla="*/ 181 w 1206"/>
                <a:gd name="T33" fmla="*/ 211 h 957"/>
                <a:gd name="T34" fmla="*/ 131 w 1206"/>
                <a:gd name="T35" fmla="*/ 280 h 957"/>
                <a:gd name="T36" fmla="*/ 166 w 1206"/>
                <a:gd name="T37" fmla="*/ 354 h 957"/>
                <a:gd name="T38" fmla="*/ 227 w 1206"/>
                <a:gd name="T39" fmla="*/ 247 h 957"/>
                <a:gd name="T40" fmla="*/ 235 w 1206"/>
                <a:gd name="T41" fmla="*/ 300 h 957"/>
                <a:gd name="T42" fmla="*/ 239 w 1206"/>
                <a:gd name="T43" fmla="*/ 336 h 957"/>
                <a:gd name="T44" fmla="*/ 166 w 1206"/>
                <a:gd name="T45" fmla="*/ 341 h 957"/>
                <a:gd name="T46" fmla="*/ 109 w 1206"/>
                <a:gd name="T47" fmla="*/ 403 h 957"/>
                <a:gd name="T48" fmla="*/ 56 w 1206"/>
                <a:gd name="T49" fmla="*/ 456 h 957"/>
                <a:gd name="T50" fmla="*/ 101 w 1206"/>
                <a:gd name="T51" fmla="*/ 490 h 957"/>
                <a:gd name="T52" fmla="*/ 203 w 1206"/>
                <a:gd name="T53" fmla="*/ 493 h 957"/>
                <a:gd name="T54" fmla="*/ 183 w 1206"/>
                <a:gd name="T55" fmla="*/ 449 h 957"/>
                <a:gd name="T56" fmla="*/ 245 w 1206"/>
                <a:gd name="T57" fmla="*/ 485 h 957"/>
                <a:gd name="T58" fmla="*/ 279 w 1206"/>
                <a:gd name="T59" fmla="*/ 516 h 957"/>
                <a:gd name="T60" fmla="*/ 212 w 1206"/>
                <a:gd name="T61" fmla="*/ 555 h 957"/>
                <a:gd name="T62" fmla="*/ 133 w 1206"/>
                <a:gd name="T63" fmla="*/ 510 h 957"/>
                <a:gd name="T64" fmla="*/ 5 w 1206"/>
                <a:gd name="T65" fmla="*/ 616 h 957"/>
                <a:gd name="T66" fmla="*/ 125 w 1206"/>
                <a:gd name="T67" fmla="*/ 702 h 957"/>
                <a:gd name="T68" fmla="*/ 153 w 1206"/>
                <a:gd name="T69" fmla="*/ 746 h 957"/>
                <a:gd name="T70" fmla="*/ 207 w 1206"/>
                <a:gd name="T71" fmla="*/ 940 h 957"/>
                <a:gd name="T72" fmla="*/ 304 w 1206"/>
                <a:gd name="T73" fmla="*/ 860 h 957"/>
                <a:gd name="T74" fmla="*/ 371 w 1206"/>
                <a:gd name="T75" fmla="*/ 726 h 957"/>
                <a:gd name="T76" fmla="*/ 310 w 1206"/>
                <a:gd name="T77" fmla="*/ 596 h 957"/>
                <a:gd name="T78" fmla="*/ 369 w 1206"/>
                <a:gd name="T79" fmla="*/ 662 h 957"/>
                <a:gd name="T80" fmla="*/ 393 w 1206"/>
                <a:gd name="T81" fmla="*/ 582 h 957"/>
                <a:gd name="T82" fmla="*/ 500 w 1206"/>
                <a:gd name="T83" fmla="*/ 607 h 957"/>
                <a:gd name="T84" fmla="*/ 580 w 1206"/>
                <a:gd name="T85" fmla="*/ 643 h 957"/>
                <a:gd name="T86" fmla="*/ 656 w 1206"/>
                <a:gd name="T87" fmla="*/ 648 h 957"/>
                <a:gd name="T88" fmla="*/ 687 w 1206"/>
                <a:gd name="T89" fmla="*/ 661 h 957"/>
                <a:gd name="T90" fmla="*/ 715 w 1206"/>
                <a:gd name="T91" fmla="*/ 627 h 957"/>
                <a:gd name="T92" fmla="*/ 808 w 1206"/>
                <a:gd name="T93" fmla="*/ 545 h 957"/>
                <a:gd name="T94" fmla="*/ 806 w 1206"/>
                <a:gd name="T95" fmla="*/ 480 h 957"/>
                <a:gd name="T96" fmla="*/ 854 w 1206"/>
                <a:gd name="T97" fmla="*/ 516 h 957"/>
                <a:gd name="T98" fmla="*/ 934 w 1206"/>
                <a:gd name="T99" fmla="*/ 441 h 957"/>
                <a:gd name="T100" fmla="*/ 894 w 1206"/>
                <a:gd name="T101" fmla="*/ 368 h 957"/>
                <a:gd name="T102" fmla="*/ 978 w 1206"/>
                <a:gd name="T103" fmla="*/ 317 h 957"/>
                <a:gd name="T104" fmla="*/ 1050 w 1206"/>
                <a:gd name="T105" fmla="*/ 293 h 957"/>
                <a:gd name="T106" fmla="*/ 1048 w 1206"/>
                <a:gd name="T107" fmla="*/ 347 h 957"/>
                <a:gd name="T108" fmla="*/ 1088 w 1206"/>
                <a:gd name="T109" fmla="*/ 305 h 957"/>
                <a:gd name="T110" fmla="*/ 1154 w 1206"/>
                <a:gd name="T111" fmla="*/ 225 h 957"/>
                <a:gd name="T112" fmla="*/ 1193 w 1206"/>
                <a:gd name="T113" fmla="*/ 210 h 957"/>
                <a:gd name="T114" fmla="*/ 268 w 1206"/>
                <a:gd name="T115" fmla="*/ 460 h 957"/>
                <a:gd name="T116" fmla="*/ 314 w 1206"/>
                <a:gd name="T117" fmla="*/ 443 h 957"/>
                <a:gd name="T118" fmla="*/ 415 w 1206"/>
                <a:gd name="T119" fmla="*/ 510 h 957"/>
                <a:gd name="T120" fmla="*/ 408 w 1206"/>
                <a:gd name="T121" fmla="*/ 442 h 957"/>
                <a:gd name="T122" fmla="*/ 411 w 1206"/>
                <a:gd name="T123" fmla="*/ 479 h 9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06" h="957">
                  <a:moveTo>
                    <a:pt x="1193" y="210"/>
                  </a:moveTo>
                  <a:cubicBezTo>
                    <a:pt x="1188" y="213"/>
                    <a:pt x="1185" y="207"/>
                    <a:pt x="1180" y="209"/>
                  </a:cubicBezTo>
                  <a:cubicBezTo>
                    <a:pt x="1178" y="214"/>
                    <a:pt x="1183" y="217"/>
                    <a:pt x="1181" y="220"/>
                  </a:cubicBezTo>
                  <a:cubicBezTo>
                    <a:pt x="1175" y="215"/>
                    <a:pt x="1179" y="207"/>
                    <a:pt x="1175" y="201"/>
                  </a:cubicBezTo>
                  <a:cubicBezTo>
                    <a:pt x="1173" y="197"/>
                    <a:pt x="1165" y="194"/>
                    <a:pt x="1159" y="190"/>
                  </a:cubicBezTo>
                  <a:cubicBezTo>
                    <a:pt x="1145" y="180"/>
                    <a:pt x="1132" y="161"/>
                    <a:pt x="1107" y="166"/>
                  </a:cubicBezTo>
                  <a:cubicBezTo>
                    <a:pt x="1104" y="162"/>
                    <a:pt x="1097" y="162"/>
                    <a:pt x="1091" y="161"/>
                  </a:cubicBezTo>
                  <a:cubicBezTo>
                    <a:pt x="1090" y="164"/>
                    <a:pt x="1089" y="166"/>
                    <a:pt x="1088" y="169"/>
                  </a:cubicBezTo>
                  <a:cubicBezTo>
                    <a:pt x="1092" y="170"/>
                    <a:pt x="1092" y="175"/>
                    <a:pt x="1093" y="178"/>
                  </a:cubicBezTo>
                  <a:cubicBezTo>
                    <a:pt x="1092" y="181"/>
                    <a:pt x="1089" y="183"/>
                    <a:pt x="1084" y="183"/>
                  </a:cubicBezTo>
                  <a:cubicBezTo>
                    <a:pt x="1083" y="175"/>
                    <a:pt x="1076" y="174"/>
                    <a:pt x="1074" y="168"/>
                  </a:cubicBezTo>
                  <a:cubicBezTo>
                    <a:pt x="1069" y="174"/>
                    <a:pt x="1056" y="172"/>
                    <a:pt x="1052" y="167"/>
                  </a:cubicBezTo>
                  <a:cubicBezTo>
                    <a:pt x="1050" y="168"/>
                    <a:pt x="1046" y="171"/>
                    <a:pt x="1042" y="169"/>
                  </a:cubicBezTo>
                  <a:cubicBezTo>
                    <a:pt x="1039" y="170"/>
                    <a:pt x="1038" y="174"/>
                    <a:pt x="1036" y="176"/>
                  </a:cubicBezTo>
                  <a:cubicBezTo>
                    <a:pt x="1036" y="173"/>
                    <a:pt x="1036" y="170"/>
                    <a:pt x="1035" y="169"/>
                  </a:cubicBezTo>
                  <a:cubicBezTo>
                    <a:pt x="1034" y="167"/>
                    <a:pt x="1028" y="169"/>
                    <a:pt x="1028" y="166"/>
                  </a:cubicBezTo>
                  <a:cubicBezTo>
                    <a:pt x="1029" y="163"/>
                    <a:pt x="1029" y="160"/>
                    <a:pt x="1029" y="158"/>
                  </a:cubicBezTo>
                  <a:cubicBezTo>
                    <a:pt x="1026" y="139"/>
                    <a:pt x="1000" y="146"/>
                    <a:pt x="985" y="150"/>
                  </a:cubicBezTo>
                  <a:cubicBezTo>
                    <a:pt x="983" y="140"/>
                    <a:pt x="974" y="138"/>
                    <a:pt x="967" y="133"/>
                  </a:cubicBezTo>
                  <a:cubicBezTo>
                    <a:pt x="969" y="131"/>
                    <a:pt x="971" y="130"/>
                    <a:pt x="972" y="128"/>
                  </a:cubicBezTo>
                  <a:cubicBezTo>
                    <a:pt x="969" y="123"/>
                    <a:pt x="962" y="122"/>
                    <a:pt x="954" y="122"/>
                  </a:cubicBezTo>
                  <a:cubicBezTo>
                    <a:pt x="951" y="126"/>
                    <a:pt x="950" y="132"/>
                    <a:pt x="943" y="133"/>
                  </a:cubicBezTo>
                  <a:cubicBezTo>
                    <a:pt x="945" y="130"/>
                    <a:pt x="950" y="130"/>
                    <a:pt x="949" y="123"/>
                  </a:cubicBezTo>
                  <a:cubicBezTo>
                    <a:pt x="948" y="121"/>
                    <a:pt x="946" y="125"/>
                    <a:pt x="945" y="122"/>
                  </a:cubicBezTo>
                  <a:cubicBezTo>
                    <a:pt x="946" y="121"/>
                    <a:pt x="948" y="120"/>
                    <a:pt x="948" y="117"/>
                  </a:cubicBezTo>
                  <a:cubicBezTo>
                    <a:pt x="937" y="118"/>
                    <a:pt x="931" y="113"/>
                    <a:pt x="922" y="111"/>
                  </a:cubicBezTo>
                  <a:cubicBezTo>
                    <a:pt x="921" y="119"/>
                    <a:pt x="908" y="115"/>
                    <a:pt x="908" y="124"/>
                  </a:cubicBezTo>
                  <a:cubicBezTo>
                    <a:pt x="909" y="126"/>
                    <a:pt x="912" y="123"/>
                    <a:pt x="913" y="125"/>
                  </a:cubicBezTo>
                  <a:cubicBezTo>
                    <a:pt x="911" y="129"/>
                    <a:pt x="915" y="134"/>
                    <a:pt x="911" y="136"/>
                  </a:cubicBezTo>
                  <a:cubicBezTo>
                    <a:pt x="908" y="137"/>
                    <a:pt x="910" y="132"/>
                    <a:pt x="905" y="133"/>
                  </a:cubicBezTo>
                  <a:cubicBezTo>
                    <a:pt x="901" y="148"/>
                    <a:pt x="900" y="137"/>
                    <a:pt x="890" y="134"/>
                  </a:cubicBezTo>
                  <a:cubicBezTo>
                    <a:pt x="886" y="135"/>
                    <a:pt x="886" y="139"/>
                    <a:pt x="882" y="139"/>
                  </a:cubicBezTo>
                  <a:cubicBezTo>
                    <a:pt x="876" y="139"/>
                    <a:pt x="875" y="133"/>
                    <a:pt x="871" y="129"/>
                  </a:cubicBezTo>
                  <a:cubicBezTo>
                    <a:pt x="867" y="135"/>
                    <a:pt x="867" y="146"/>
                    <a:pt x="861" y="150"/>
                  </a:cubicBezTo>
                  <a:cubicBezTo>
                    <a:pt x="850" y="143"/>
                    <a:pt x="851" y="124"/>
                    <a:pt x="835" y="121"/>
                  </a:cubicBezTo>
                  <a:cubicBezTo>
                    <a:pt x="839" y="116"/>
                    <a:pt x="843" y="111"/>
                    <a:pt x="849" y="109"/>
                  </a:cubicBezTo>
                  <a:cubicBezTo>
                    <a:pt x="849" y="104"/>
                    <a:pt x="846" y="102"/>
                    <a:pt x="844" y="99"/>
                  </a:cubicBezTo>
                  <a:cubicBezTo>
                    <a:pt x="834" y="100"/>
                    <a:pt x="829" y="96"/>
                    <a:pt x="825" y="92"/>
                  </a:cubicBezTo>
                  <a:cubicBezTo>
                    <a:pt x="821" y="93"/>
                    <a:pt x="820" y="96"/>
                    <a:pt x="817" y="98"/>
                  </a:cubicBezTo>
                  <a:cubicBezTo>
                    <a:pt x="819" y="102"/>
                    <a:pt x="817" y="108"/>
                    <a:pt x="815" y="111"/>
                  </a:cubicBezTo>
                  <a:cubicBezTo>
                    <a:pt x="807" y="106"/>
                    <a:pt x="785" y="114"/>
                    <a:pt x="790" y="96"/>
                  </a:cubicBezTo>
                  <a:cubicBezTo>
                    <a:pt x="781" y="95"/>
                    <a:pt x="774" y="93"/>
                    <a:pt x="765" y="95"/>
                  </a:cubicBezTo>
                  <a:cubicBezTo>
                    <a:pt x="763" y="97"/>
                    <a:pt x="763" y="100"/>
                    <a:pt x="760" y="101"/>
                  </a:cubicBezTo>
                  <a:cubicBezTo>
                    <a:pt x="760" y="97"/>
                    <a:pt x="761" y="94"/>
                    <a:pt x="760" y="91"/>
                  </a:cubicBezTo>
                  <a:cubicBezTo>
                    <a:pt x="756" y="89"/>
                    <a:pt x="757" y="94"/>
                    <a:pt x="752" y="94"/>
                  </a:cubicBezTo>
                  <a:cubicBezTo>
                    <a:pt x="748" y="92"/>
                    <a:pt x="747" y="87"/>
                    <a:pt x="743" y="85"/>
                  </a:cubicBezTo>
                  <a:cubicBezTo>
                    <a:pt x="740" y="88"/>
                    <a:pt x="741" y="92"/>
                    <a:pt x="742" y="96"/>
                  </a:cubicBezTo>
                  <a:cubicBezTo>
                    <a:pt x="736" y="102"/>
                    <a:pt x="721" y="104"/>
                    <a:pt x="716" y="109"/>
                  </a:cubicBezTo>
                  <a:cubicBezTo>
                    <a:pt x="730" y="91"/>
                    <a:pt x="749" y="78"/>
                    <a:pt x="762" y="59"/>
                  </a:cubicBezTo>
                  <a:cubicBezTo>
                    <a:pt x="756" y="53"/>
                    <a:pt x="765" y="48"/>
                    <a:pt x="762" y="39"/>
                  </a:cubicBezTo>
                  <a:cubicBezTo>
                    <a:pt x="760" y="39"/>
                    <a:pt x="760" y="41"/>
                    <a:pt x="757" y="40"/>
                  </a:cubicBezTo>
                  <a:cubicBezTo>
                    <a:pt x="755" y="27"/>
                    <a:pt x="743" y="23"/>
                    <a:pt x="729" y="25"/>
                  </a:cubicBezTo>
                  <a:cubicBezTo>
                    <a:pt x="729" y="29"/>
                    <a:pt x="725" y="33"/>
                    <a:pt x="721" y="30"/>
                  </a:cubicBezTo>
                  <a:cubicBezTo>
                    <a:pt x="721" y="25"/>
                    <a:pt x="727" y="22"/>
                    <a:pt x="725" y="18"/>
                  </a:cubicBezTo>
                  <a:cubicBezTo>
                    <a:pt x="719" y="20"/>
                    <a:pt x="716" y="16"/>
                    <a:pt x="709" y="18"/>
                  </a:cubicBezTo>
                  <a:cubicBezTo>
                    <a:pt x="711" y="13"/>
                    <a:pt x="719" y="7"/>
                    <a:pt x="713" y="1"/>
                  </a:cubicBezTo>
                  <a:cubicBezTo>
                    <a:pt x="696" y="0"/>
                    <a:pt x="686" y="13"/>
                    <a:pt x="690" y="27"/>
                  </a:cubicBezTo>
                  <a:cubicBezTo>
                    <a:pt x="688" y="30"/>
                    <a:pt x="685" y="30"/>
                    <a:pt x="681" y="31"/>
                  </a:cubicBezTo>
                  <a:cubicBezTo>
                    <a:pt x="680" y="34"/>
                    <a:pt x="682" y="40"/>
                    <a:pt x="679" y="42"/>
                  </a:cubicBezTo>
                  <a:cubicBezTo>
                    <a:pt x="677" y="41"/>
                    <a:pt x="676" y="39"/>
                    <a:pt x="674" y="39"/>
                  </a:cubicBezTo>
                  <a:cubicBezTo>
                    <a:pt x="670" y="41"/>
                    <a:pt x="668" y="45"/>
                    <a:pt x="661" y="44"/>
                  </a:cubicBezTo>
                  <a:cubicBezTo>
                    <a:pt x="661" y="42"/>
                    <a:pt x="661" y="40"/>
                    <a:pt x="661" y="38"/>
                  </a:cubicBezTo>
                  <a:cubicBezTo>
                    <a:pt x="658" y="37"/>
                    <a:pt x="655" y="36"/>
                    <a:pt x="652" y="37"/>
                  </a:cubicBezTo>
                  <a:cubicBezTo>
                    <a:pt x="647" y="49"/>
                    <a:pt x="630" y="47"/>
                    <a:pt x="620" y="53"/>
                  </a:cubicBezTo>
                  <a:cubicBezTo>
                    <a:pt x="617" y="55"/>
                    <a:pt x="606" y="67"/>
                    <a:pt x="605" y="70"/>
                  </a:cubicBezTo>
                  <a:cubicBezTo>
                    <a:pt x="602" y="82"/>
                    <a:pt x="618" y="90"/>
                    <a:pt x="604" y="96"/>
                  </a:cubicBezTo>
                  <a:cubicBezTo>
                    <a:pt x="603" y="93"/>
                    <a:pt x="609" y="93"/>
                    <a:pt x="606" y="90"/>
                  </a:cubicBezTo>
                  <a:cubicBezTo>
                    <a:pt x="602" y="86"/>
                    <a:pt x="598" y="92"/>
                    <a:pt x="595" y="94"/>
                  </a:cubicBezTo>
                  <a:cubicBezTo>
                    <a:pt x="595" y="93"/>
                    <a:pt x="595" y="91"/>
                    <a:pt x="593" y="91"/>
                  </a:cubicBezTo>
                  <a:cubicBezTo>
                    <a:pt x="588" y="96"/>
                    <a:pt x="572" y="92"/>
                    <a:pt x="568" y="99"/>
                  </a:cubicBezTo>
                  <a:cubicBezTo>
                    <a:pt x="569" y="105"/>
                    <a:pt x="572" y="109"/>
                    <a:pt x="571" y="117"/>
                  </a:cubicBezTo>
                  <a:cubicBezTo>
                    <a:pt x="575" y="122"/>
                    <a:pt x="584" y="126"/>
                    <a:pt x="586" y="134"/>
                  </a:cubicBezTo>
                  <a:cubicBezTo>
                    <a:pt x="586" y="136"/>
                    <a:pt x="584" y="139"/>
                    <a:pt x="584" y="141"/>
                  </a:cubicBezTo>
                  <a:cubicBezTo>
                    <a:pt x="584" y="146"/>
                    <a:pt x="590" y="153"/>
                    <a:pt x="585" y="156"/>
                  </a:cubicBezTo>
                  <a:cubicBezTo>
                    <a:pt x="585" y="153"/>
                    <a:pt x="584" y="150"/>
                    <a:pt x="584" y="147"/>
                  </a:cubicBezTo>
                  <a:cubicBezTo>
                    <a:pt x="581" y="145"/>
                    <a:pt x="581" y="151"/>
                    <a:pt x="580" y="149"/>
                  </a:cubicBezTo>
                  <a:cubicBezTo>
                    <a:pt x="578" y="140"/>
                    <a:pt x="585" y="140"/>
                    <a:pt x="584" y="132"/>
                  </a:cubicBezTo>
                  <a:cubicBezTo>
                    <a:pt x="581" y="133"/>
                    <a:pt x="580" y="135"/>
                    <a:pt x="577" y="134"/>
                  </a:cubicBezTo>
                  <a:cubicBezTo>
                    <a:pt x="570" y="130"/>
                    <a:pt x="565" y="115"/>
                    <a:pt x="554" y="123"/>
                  </a:cubicBezTo>
                  <a:cubicBezTo>
                    <a:pt x="553" y="127"/>
                    <a:pt x="557" y="129"/>
                    <a:pt x="554" y="130"/>
                  </a:cubicBezTo>
                  <a:cubicBezTo>
                    <a:pt x="550" y="128"/>
                    <a:pt x="550" y="127"/>
                    <a:pt x="545" y="128"/>
                  </a:cubicBezTo>
                  <a:cubicBezTo>
                    <a:pt x="543" y="132"/>
                    <a:pt x="546" y="136"/>
                    <a:pt x="548" y="138"/>
                  </a:cubicBezTo>
                  <a:cubicBezTo>
                    <a:pt x="551" y="137"/>
                    <a:pt x="552" y="139"/>
                    <a:pt x="555" y="139"/>
                  </a:cubicBezTo>
                  <a:cubicBezTo>
                    <a:pt x="556" y="141"/>
                    <a:pt x="558" y="146"/>
                    <a:pt x="557" y="147"/>
                  </a:cubicBezTo>
                  <a:cubicBezTo>
                    <a:pt x="555" y="143"/>
                    <a:pt x="548" y="142"/>
                    <a:pt x="543" y="141"/>
                  </a:cubicBezTo>
                  <a:cubicBezTo>
                    <a:pt x="535" y="134"/>
                    <a:pt x="544" y="125"/>
                    <a:pt x="542" y="114"/>
                  </a:cubicBezTo>
                  <a:cubicBezTo>
                    <a:pt x="540" y="113"/>
                    <a:pt x="539" y="112"/>
                    <a:pt x="536" y="112"/>
                  </a:cubicBezTo>
                  <a:cubicBezTo>
                    <a:pt x="537" y="121"/>
                    <a:pt x="537" y="131"/>
                    <a:pt x="528" y="131"/>
                  </a:cubicBezTo>
                  <a:cubicBezTo>
                    <a:pt x="523" y="139"/>
                    <a:pt x="532" y="146"/>
                    <a:pt x="532" y="154"/>
                  </a:cubicBezTo>
                  <a:cubicBezTo>
                    <a:pt x="532" y="162"/>
                    <a:pt x="525" y="168"/>
                    <a:pt x="530" y="177"/>
                  </a:cubicBezTo>
                  <a:cubicBezTo>
                    <a:pt x="534" y="178"/>
                    <a:pt x="537" y="178"/>
                    <a:pt x="543" y="177"/>
                  </a:cubicBezTo>
                  <a:cubicBezTo>
                    <a:pt x="553" y="178"/>
                    <a:pt x="555" y="190"/>
                    <a:pt x="551" y="199"/>
                  </a:cubicBezTo>
                  <a:cubicBezTo>
                    <a:pt x="552" y="201"/>
                    <a:pt x="557" y="199"/>
                    <a:pt x="557" y="202"/>
                  </a:cubicBezTo>
                  <a:cubicBezTo>
                    <a:pt x="545" y="206"/>
                    <a:pt x="555" y="184"/>
                    <a:pt x="544" y="182"/>
                  </a:cubicBezTo>
                  <a:cubicBezTo>
                    <a:pt x="540" y="181"/>
                    <a:pt x="537" y="183"/>
                    <a:pt x="533" y="185"/>
                  </a:cubicBezTo>
                  <a:cubicBezTo>
                    <a:pt x="538" y="202"/>
                    <a:pt x="528" y="212"/>
                    <a:pt x="520" y="221"/>
                  </a:cubicBezTo>
                  <a:cubicBezTo>
                    <a:pt x="514" y="220"/>
                    <a:pt x="505" y="222"/>
                    <a:pt x="504" y="215"/>
                  </a:cubicBezTo>
                  <a:cubicBezTo>
                    <a:pt x="508" y="215"/>
                    <a:pt x="510" y="216"/>
                    <a:pt x="512" y="218"/>
                  </a:cubicBezTo>
                  <a:cubicBezTo>
                    <a:pt x="515" y="218"/>
                    <a:pt x="515" y="215"/>
                    <a:pt x="518" y="216"/>
                  </a:cubicBezTo>
                  <a:cubicBezTo>
                    <a:pt x="519" y="213"/>
                    <a:pt x="517" y="213"/>
                    <a:pt x="517" y="211"/>
                  </a:cubicBezTo>
                  <a:cubicBezTo>
                    <a:pt x="524" y="206"/>
                    <a:pt x="527" y="197"/>
                    <a:pt x="529" y="188"/>
                  </a:cubicBezTo>
                  <a:cubicBezTo>
                    <a:pt x="521" y="182"/>
                    <a:pt x="524" y="162"/>
                    <a:pt x="525" y="155"/>
                  </a:cubicBezTo>
                  <a:cubicBezTo>
                    <a:pt x="526" y="146"/>
                    <a:pt x="520" y="142"/>
                    <a:pt x="520" y="136"/>
                  </a:cubicBezTo>
                  <a:cubicBezTo>
                    <a:pt x="520" y="128"/>
                    <a:pt x="530" y="120"/>
                    <a:pt x="525" y="111"/>
                  </a:cubicBezTo>
                  <a:cubicBezTo>
                    <a:pt x="517" y="108"/>
                    <a:pt x="510" y="114"/>
                    <a:pt x="503" y="110"/>
                  </a:cubicBezTo>
                  <a:cubicBezTo>
                    <a:pt x="501" y="125"/>
                    <a:pt x="499" y="133"/>
                    <a:pt x="489" y="141"/>
                  </a:cubicBezTo>
                  <a:cubicBezTo>
                    <a:pt x="488" y="142"/>
                    <a:pt x="489" y="146"/>
                    <a:pt x="488" y="148"/>
                  </a:cubicBezTo>
                  <a:cubicBezTo>
                    <a:pt x="489" y="148"/>
                    <a:pt x="488" y="149"/>
                    <a:pt x="488" y="150"/>
                  </a:cubicBezTo>
                  <a:cubicBezTo>
                    <a:pt x="490" y="151"/>
                    <a:pt x="492" y="151"/>
                    <a:pt x="493" y="153"/>
                  </a:cubicBezTo>
                  <a:cubicBezTo>
                    <a:pt x="494" y="161"/>
                    <a:pt x="489" y="162"/>
                    <a:pt x="488" y="168"/>
                  </a:cubicBezTo>
                  <a:cubicBezTo>
                    <a:pt x="489" y="171"/>
                    <a:pt x="496" y="169"/>
                    <a:pt x="497" y="173"/>
                  </a:cubicBezTo>
                  <a:cubicBezTo>
                    <a:pt x="494" y="177"/>
                    <a:pt x="498" y="182"/>
                    <a:pt x="502" y="183"/>
                  </a:cubicBezTo>
                  <a:cubicBezTo>
                    <a:pt x="501" y="186"/>
                    <a:pt x="500" y="189"/>
                    <a:pt x="498" y="191"/>
                  </a:cubicBezTo>
                  <a:cubicBezTo>
                    <a:pt x="488" y="179"/>
                    <a:pt x="476" y="167"/>
                    <a:pt x="455" y="166"/>
                  </a:cubicBezTo>
                  <a:cubicBezTo>
                    <a:pt x="454" y="168"/>
                    <a:pt x="452" y="169"/>
                    <a:pt x="451" y="172"/>
                  </a:cubicBezTo>
                  <a:cubicBezTo>
                    <a:pt x="453" y="175"/>
                    <a:pt x="456" y="180"/>
                    <a:pt x="454" y="185"/>
                  </a:cubicBezTo>
                  <a:cubicBezTo>
                    <a:pt x="448" y="183"/>
                    <a:pt x="450" y="189"/>
                    <a:pt x="447" y="190"/>
                  </a:cubicBezTo>
                  <a:cubicBezTo>
                    <a:pt x="445" y="187"/>
                    <a:pt x="449" y="181"/>
                    <a:pt x="442" y="180"/>
                  </a:cubicBezTo>
                  <a:cubicBezTo>
                    <a:pt x="438" y="181"/>
                    <a:pt x="438" y="186"/>
                    <a:pt x="434" y="187"/>
                  </a:cubicBezTo>
                  <a:cubicBezTo>
                    <a:pt x="427" y="184"/>
                    <a:pt x="421" y="186"/>
                    <a:pt x="419" y="192"/>
                  </a:cubicBezTo>
                  <a:cubicBezTo>
                    <a:pt x="418" y="189"/>
                    <a:pt x="414" y="196"/>
                    <a:pt x="413" y="192"/>
                  </a:cubicBezTo>
                  <a:cubicBezTo>
                    <a:pt x="415" y="191"/>
                    <a:pt x="415" y="187"/>
                    <a:pt x="415" y="182"/>
                  </a:cubicBezTo>
                  <a:cubicBezTo>
                    <a:pt x="410" y="179"/>
                    <a:pt x="409" y="186"/>
                    <a:pt x="407" y="189"/>
                  </a:cubicBezTo>
                  <a:cubicBezTo>
                    <a:pt x="406" y="188"/>
                    <a:pt x="406" y="186"/>
                    <a:pt x="405" y="185"/>
                  </a:cubicBezTo>
                  <a:cubicBezTo>
                    <a:pt x="398" y="192"/>
                    <a:pt x="389" y="196"/>
                    <a:pt x="380" y="201"/>
                  </a:cubicBezTo>
                  <a:cubicBezTo>
                    <a:pt x="379" y="204"/>
                    <a:pt x="379" y="209"/>
                    <a:pt x="378" y="212"/>
                  </a:cubicBezTo>
                  <a:cubicBezTo>
                    <a:pt x="370" y="216"/>
                    <a:pt x="366" y="211"/>
                    <a:pt x="364" y="204"/>
                  </a:cubicBezTo>
                  <a:cubicBezTo>
                    <a:pt x="365" y="201"/>
                    <a:pt x="369" y="201"/>
                    <a:pt x="374" y="201"/>
                  </a:cubicBezTo>
                  <a:cubicBezTo>
                    <a:pt x="372" y="191"/>
                    <a:pt x="366" y="186"/>
                    <a:pt x="357" y="187"/>
                  </a:cubicBezTo>
                  <a:cubicBezTo>
                    <a:pt x="356" y="193"/>
                    <a:pt x="360" y="201"/>
                    <a:pt x="355" y="206"/>
                  </a:cubicBezTo>
                  <a:cubicBezTo>
                    <a:pt x="360" y="210"/>
                    <a:pt x="359" y="217"/>
                    <a:pt x="357" y="224"/>
                  </a:cubicBezTo>
                  <a:cubicBezTo>
                    <a:pt x="354" y="221"/>
                    <a:pt x="351" y="218"/>
                    <a:pt x="346" y="218"/>
                  </a:cubicBezTo>
                  <a:cubicBezTo>
                    <a:pt x="344" y="225"/>
                    <a:pt x="337" y="226"/>
                    <a:pt x="333" y="231"/>
                  </a:cubicBezTo>
                  <a:cubicBezTo>
                    <a:pt x="331" y="238"/>
                    <a:pt x="336" y="239"/>
                    <a:pt x="336" y="244"/>
                  </a:cubicBezTo>
                  <a:cubicBezTo>
                    <a:pt x="327" y="246"/>
                    <a:pt x="322" y="240"/>
                    <a:pt x="316" y="237"/>
                  </a:cubicBezTo>
                  <a:cubicBezTo>
                    <a:pt x="310" y="242"/>
                    <a:pt x="318" y="250"/>
                    <a:pt x="322" y="250"/>
                  </a:cubicBezTo>
                  <a:cubicBezTo>
                    <a:pt x="322" y="251"/>
                    <a:pt x="322" y="252"/>
                    <a:pt x="322" y="253"/>
                  </a:cubicBezTo>
                  <a:cubicBezTo>
                    <a:pt x="314" y="256"/>
                    <a:pt x="312" y="248"/>
                    <a:pt x="305" y="247"/>
                  </a:cubicBezTo>
                  <a:cubicBezTo>
                    <a:pt x="306" y="242"/>
                    <a:pt x="303" y="239"/>
                    <a:pt x="302" y="235"/>
                  </a:cubicBezTo>
                  <a:cubicBezTo>
                    <a:pt x="311" y="223"/>
                    <a:pt x="290" y="219"/>
                    <a:pt x="291" y="211"/>
                  </a:cubicBezTo>
                  <a:cubicBezTo>
                    <a:pt x="294" y="211"/>
                    <a:pt x="294" y="214"/>
                    <a:pt x="296" y="216"/>
                  </a:cubicBezTo>
                  <a:cubicBezTo>
                    <a:pt x="308" y="223"/>
                    <a:pt x="341" y="234"/>
                    <a:pt x="343" y="211"/>
                  </a:cubicBezTo>
                  <a:cubicBezTo>
                    <a:pt x="343" y="208"/>
                    <a:pt x="339" y="205"/>
                    <a:pt x="341" y="201"/>
                  </a:cubicBezTo>
                  <a:cubicBezTo>
                    <a:pt x="324" y="194"/>
                    <a:pt x="319" y="172"/>
                    <a:pt x="296" y="175"/>
                  </a:cubicBezTo>
                  <a:cubicBezTo>
                    <a:pt x="295" y="170"/>
                    <a:pt x="288" y="172"/>
                    <a:pt x="290" y="164"/>
                  </a:cubicBezTo>
                  <a:cubicBezTo>
                    <a:pt x="286" y="163"/>
                    <a:pt x="287" y="167"/>
                    <a:pt x="283" y="167"/>
                  </a:cubicBezTo>
                  <a:cubicBezTo>
                    <a:pt x="281" y="164"/>
                    <a:pt x="278" y="166"/>
                    <a:pt x="275" y="166"/>
                  </a:cubicBezTo>
                  <a:cubicBezTo>
                    <a:pt x="276" y="163"/>
                    <a:pt x="269" y="163"/>
                    <a:pt x="272" y="161"/>
                  </a:cubicBezTo>
                  <a:cubicBezTo>
                    <a:pt x="277" y="162"/>
                    <a:pt x="279" y="159"/>
                    <a:pt x="282" y="158"/>
                  </a:cubicBezTo>
                  <a:cubicBezTo>
                    <a:pt x="281" y="151"/>
                    <a:pt x="273" y="151"/>
                    <a:pt x="269" y="146"/>
                  </a:cubicBezTo>
                  <a:cubicBezTo>
                    <a:pt x="267" y="148"/>
                    <a:pt x="268" y="151"/>
                    <a:pt x="265" y="151"/>
                  </a:cubicBezTo>
                  <a:cubicBezTo>
                    <a:pt x="265" y="148"/>
                    <a:pt x="267" y="147"/>
                    <a:pt x="267" y="144"/>
                  </a:cubicBezTo>
                  <a:cubicBezTo>
                    <a:pt x="259" y="142"/>
                    <a:pt x="260" y="149"/>
                    <a:pt x="258" y="153"/>
                  </a:cubicBezTo>
                  <a:cubicBezTo>
                    <a:pt x="258" y="149"/>
                    <a:pt x="257" y="149"/>
                    <a:pt x="258" y="145"/>
                  </a:cubicBezTo>
                  <a:cubicBezTo>
                    <a:pt x="252" y="147"/>
                    <a:pt x="252" y="153"/>
                    <a:pt x="249" y="157"/>
                  </a:cubicBezTo>
                  <a:cubicBezTo>
                    <a:pt x="248" y="151"/>
                    <a:pt x="252" y="150"/>
                    <a:pt x="253" y="145"/>
                  </a:cubicBezTo>
                  <a:cubicBezTo>
                    <a:pt x="243" y="146"/>
                    <a:pt x="240" y="154"/>
                    <a:pt x="236" y="160"/>
                  </a:cubicBezTo>
                  <a:cubicBezTo>
                    <a:pt x="234" y="159"/>
                    <a:pt x="234" y="157"/>
                    <a:pt x="230" y="158"/>
                  </a:cubicBezTo>
                  <a:cubicBezTo>
                    <a:pt x="230" y="159"/>
                    <a:pt x="230" y="162"/>
                    <a:pt x="229" y="163"/>
                  </a:cubicBezTo>
                  <a:cubicBezTo>
                    <a:pt x="228" y="162"/>
                    <a:pt x="227" y="162"/>
                    <a:pt x="225" y="161"/>
                  </a:cubicBezTo>
                  <a:cubicBezTo>
                    <a:pt x="225" y="164"/>
                    <a:pt x="222" y="165"/>
                    <a:pt x="221" y="167"/>
                  </a:cubicBezTo>
                  <a:cubicBezTo>
                    <a:pt x="221" y="165"/>
                    <a:pt x="220" y="165"/>
                    <a:pt x="218" y="165"/>
                  </a:cubicBezTo>
                  <a:cubicBezTo>
                    <a:pt x="217" y="168"/>
                    <a:pt x="217" y="172"/>
                    <a:pt x="215" y="174"/>
                  </a:cubicBezTo>
                  <a:cubicBezTo>
                    <a:pt x="212" y="172"/>
                    <a:pt x="209" y="175"/>
                    <a:pt x="207" y="171"/>
                  </a:cubicBezTo>
                  <a:cubicBezTo>
                    <a:pt x="207" y="179"/>
                    <a:pt x="198" y="183"/>
                    <a:pt x="199" y="189"/>
                  </a:cubicBezTo>
                  <a:cubicBezTo>
                    <a:pt x="198" y="189"/>
                    <a:pt x="197" y="189"/>
                    <a:pt x="197" y="190"/>
                  </a:cubicBezTo>
                  <a:cubicBezTo>
                    <a:pt x="198" y="190"/>
                    <a:pt x="198" y="195"/>
                    <a:pt x="197" y="195"/>
                  </a:cubicBezTo>
                  <a:cubicBezTo>
                    <a:pt x="195" y="195"/>
                    <a:pt x="196" y="192"/>
                    <a:pt x="193" y="193"/>
                  </a:cubicBezTo>
                  <a:cubicBezTo>
                    <a:pt x="193" y="197"/>
                    <a:pt x="192" y="199"/>
                    <a:pt x="192" y="202"/>
                  </a:cubicBezTo>
                  <a:cubicBezTo>
                    <a:pt x="186" y="200"/>
                    <a:pt x="187" y="210"/>
                    <a:pt x="181" y="211"/>
                  </a:cubicBezTo>
                  <a:cubicBezTo>
                    <a:pt x="180" y="213"/>
                    <a:pt x="182" y="213"/>
                    <a:pt x="182" y="215"/>
                  </a:cubicBezTo>
                  <a:cubicBezTo>
                    <a:pt x="179" y="214"/>
                    <a:pt x="180" y="214"/>
                    <a:pt x="178" y="216"/>
                  </a:cubicBezTo>
                  <a:cubicBezTo>
                    <a:pt x="176" y="220"/>
                    <a:pt x="179" y="219"/>
                    <a:pt x="179" y="222"/>
                  </a:cubicBezTo>
                  <a:cubicBezTo>
                    <a:pt x="175" y="225"/>
                    <a:pt x="171" y="232"/>
                    <a:pt x="174" y="237"/>
                  </a:cubicBezTo>
                  <a:cubicBezTo>
                    <a:pt x="170" y="236"/>
                    <a:pt x="167" y="243"/>
                    <a:pt x="168" y="246"/>
                  </a:cubicBezTo>
                  <a:cubicBezTo>
                    <a:pt x="158" y="243"/>
                    <a:pt x="160" y="262"/>
                    <a:pt x="151" y="260"/>
                  </a:cubicBezTo>
                  <a:cubicBezTo>
                    <a:pt x="150" y="261"/>
                    <a:pt x="150" y="264"/>
                    <a:pt x="149" y="265"/>
                  </a:cubicBezTo>
                  <a:cubicBezTo>
                    <a:pt x="147" y="265"/>
                    <a:pt x="145" y="266"/>
                    <a:pt x="142" y="266"/>
                  </a:cubicBezTo>
                  <a:cubicBezTo>
                    <a:pt x="142" y="272"/>
                    <a:pt x="137" y="273"/>
                    <a:pt x="132" y="277"/>
                  </a:cubicBezTo>
                  <a:cubicBezTo>
                    <a:pt x="133" y="279"/>
                    <a:pt x="136" y="280"/>
                    <a:pt x="131" y="280"/>
                  </a:cubicBezTo>
                  <a:cubicBezTo>
                    <a:pt x="130" y="290"/>
                    <a:pt x="132" y="294"/>
                    <a:pt x="131" y="300"/>
                  </a:cubicBezTo>
                  <a:cubicBezTo>
                    <a:pt x="132" y="302"/>
                    <a:pt x="133" y="300"/>
                    <a:pt x="135" y="301"/>
                  </a:cubicBezTo>
                  <a:cubicBezTo>
                    <a:pt x="133" y="304"/>
                    <a:pt x="131" y="305"/>
                    <a:pt x="131" y="310"/>
                  </a:cubicBezTo>
                  <a:cubicBezTo>
                    <a:pt x="132" y="312"/>
                    <a:pt x="133" y="311"/>
                    <a:pt x="135" y="312"/>
                  </a:cubicBezTo>
                  <a:cubicBezTo>
                    <a:pt x="132" y="314"/>
                    <a:pt x="133" y="316"/>
                    <a:pt x="133" y="319"/>
                  </a:cubicBezTo>
                  <a:cubicBezTo>
                    <a:pt x="137" y="320"/>
                    <a:pt x="138" y="324"/>
                    <a:pt x="141" y="325"/>
                  </a:cubicBezTo>
                  <a:cubicBezTo>
                    <a:pt x="154" y="326"/>
                    <a:pt x="155" y="315"/>
                    <a:pt x="164" y="312"/>
                  </a:cubicBezTo>
                  <a:cubicBezTo>
                    <a:pt x="166" y="325"/>
                    <a:pt x="179" y="340"/>
                    <a:pt x="170" y="348"/>
                  </a:cubicBezTo>
                  <a:cubicBezTo>
                    <a:pt x="170" y="347"/>
                    <a:pt x="170" y="345"/>
                    <a:pt x="169" y="345"/>
                  </a:cubicBezTo>
                  <a:cubicBezTo>
                    <a:pt x="167" y="348"/>
                    <a:pt x="165" y="349"/>
                    <a:pt x="166" y="354"/>
                  </a:cubicBezTo>
                  <a:cubicBezTo>
                    <a:pt x="168" y="355"/>
                    <a:pt x="170" y="356"/>
                    <a:pt x="172" y="356"/>
                  </a:cubicBezTo>
                  <a:cubicBezTo>
                    <a:pt x="174" y="352"/>
                    <a:pt x="182" y="353"/>
                    <a:pt x="185" y="352"/>
                  </a:cubicBezTo>
                  <a:cubicBezTo>
                    <a:pt x="187" y="351"/>
                    <a:pt x="184" y="350"/>
                    <a:pt x="185" y="347"/>
                  </a:cubicBezTo>
                  <a:cubicBezTo>
                    <a:pt x="189" y="347"/>
                    <a:pt x="191" y="344"/>
                    <a:pt x="194" y="346"/>
                  </a:cubicBezTo>
                  <a:cubicBezTo>
                    <a:pt x="198" y="339"/>
                    <a:pt x="202" y="326"/>
                    <a:pt x="198" y="318"/>
                  </a:cubicBezTo>
                  <a:cubicBezTo>
                    <a:pt x="207" y="318"/>
                    <a:pt x="210" y="310"/>
                    <a:pt x="213" y="305"/>
                  </a:cubicBezTo>
                  <a:cubicBezTo>
                    <a:pt x="212" y="296"/>
                    <a:pt x="197" y="293"/>
                    <a:pt x="204" y="281"/>
                  </a:cubicBezTo>
                  <a:cubicBezTo>
                    <a:pt x="204" y="279"/>
                    <a:pt x="205" y="275"/>
                    <a:pt x="203" y="274"/>
                  </a:cubicBezTo>
                  <a:cubicBezTo>
                    <a:pt x="205" y="274"/>
                    <a:pt x="206" y="274"/>
                    <a:pt x="207" y="273"/>
                  </a:cubicBezTo>
                  <a:cubicBezTo>
                    <a:pt x="209" y="262"/>
                    <a:pt x="224" y="259"/>
                    <a:pt x="227" y="247"/>
                  </a:cubicBezTo>
                  <a:cubicBezTo>
                    <a:pt x="226" y="246"/>
                    <a:pt x="225" y="245"/>
                    <a:pt x="225" y="243"/>
                  </a:cubicBezTo>
                  <a:cubicBezTo>
                    <a:pt x="229" y="237"/>
                    <a:pt x="228" y="229"/>
                    <a:pt x="234" y="227"/>
                  </a:cubicBezTo>
                  <a:cubicBezTo>
                    <a:pt x="234" y="227"/>
                    <a:pt x="241" y="232"/>
                    <a:pt x="242" y="228"/>
                  </a:cubicBezTo>
                  <a:cubicBezTo>
                    <a:pt x="242" y="232"/>
                    <a:pt x="247" y="230"/>
                    <a:pt x="248" y="233"/>
                  </a:cubicBezTo>
                  <a:cubicBezTo>
                    <a:pt x="247" y="237"/>
                    <a:pt x="247" y="238"/>
                    <a:pt x="249" y="241"/>
                  </a:cubicBezTo>
                  <a:cubicBezTo>
                    <a:pt x="239" y="242"/>
                    <a:pt x="240" y="257"/>
                    <a:pt x="232" y="256"/>
                  </a:cubicBezTo>
                  <a:cubicBezTo>
                    <a:pt x="232" y="259"/>
                    <a:pt x="231" y="261"/>
                    <a:pt x="230" y="263"/>
                  </a:cubicBezTo>
                  <a:cubicBezTo>
                    <a:pt x="229" y="264"/>
                    <a:pt x="229" y="262"/>
                    <a:pt x="227" y="263"/>
                  </a:cubicBezTo>
                  <a:cubicBezTo>
                    <a:pt x="222" y="269"/>
                    <a:pt x="226" y="277"/>
                    <a:pt x="226" y="286"/>
                  </a:cubicBezTo>
                  <a:cubicBezTo>
                    <a:pt x="227" y="294"/>
                    <a:pt x="226" y="302"/>
                    <a:pt x="235" y="300"/>
                  </a:cubicBezTo>
                  <a:cubicBezTo>
                    <a:pt x="234" y="302"/>
                    <a:pt x="235" y="303"/>
                    <a:pt x="236" y="305"/>
                  </a:cubicBezTo>
                  <a:cubicBezTo>
                    <a:pt x="248" y="302"/>
                    <a:pt x="256" y="299"/>
                    <a:pt x="267" y="295"/>
                  </a:cubicBezTo>
                  <a:cubicBezTo>
                    <a:pt x="265" y="297"/>
                    <a:pt x="266" y="299"/>
                    <a:pt x="267" y="300"/>
                  </a:cubicBezTo>
                  <a:cubicBezTo>
                    <a:pt x="269" y="302"/>
                    <a:pt x="276" y="300"/>
                    <a:pt x="276" y="304"/>
                  </a:cubicBezTo>
                  <a:cubicBezTo>
                    <a:pt x="273" y="304"/>
                    <a:pt x="273" y="302"/>
                    <a:pt x="270" y="302"/>
                  </a:cubicBezTo>
                  <a:cubicBezTo>
                    <a:pt x="269" y="306"/>
                    <a:pt x="267" y="304"/>
                    <a:pt x="263" y="305"/>
                  </a:cubicBezTo>
                  <a:cubicBezTo>
                    <a:pt x="262" y="307"/>
                    <a:pt x="264" y="308"/>
                    <a:pt x="263" y="310"/>
                  </a:cubicBezTo>
                  <a:cubicBezTo>
                    <a:pt x="253" y="307"/>
                    <a:pt x="243" y="307"/>
                    <a:pt x="237" y="312"/>
                  </a:cubicBezTo>
                  <a:cubicBezTo>
                    <a:pt x="237" y="318"/>
                    <a:pt x="239" y="324"/>
                    <a:pt x="243" y="324"/>
                  </a:cubicBezTo>
                  <a:cubicBezTo>
                    <a:pt x="240" y="328"/>
                    <a:pt x="246" y="335"/>
                    <a:pt x="239" y="336"/>
                  </a:cubicBezTo>
                  <a:cubicBezTo>
                    <a:pt x="235" y="334"/>
                    <a:pt x="236" y="329"/>
                    <a:pt x="232" y="328"/>
                  </a:cubicBezTo>
                  <a:cubicBezTo>
                    <a:pt x="221" y="327"/>
                    <a:pt x="223" y="351"/>
                    <a:pt x="224" y="356"/>
                  </a:cubicBezTo>
                  <a:cubicBezTo>
                    <a:pt x="222" y="356"/>
                    <a:pt x="219" y="356"/>
                    <a:pt x="217" y="356"/>
                  </a:cubicBezTo>
                  <a:cubicBezTo>
                    <a:pt x="216" y="360"/>
                    <a:pt x="215" y="364"/>
                    <a:pt x="211" y="363"/>
                  </a:cubicBezTo>
                  <a:cubicBezTo>
                    <a:pt x="209" y="361"/>
                    <a:pt x="211" y="360"/>
                    <a:pt x="209" y="358"/>
                  </a:cubicBezTo>
                  <a:cubicBezTo>
                    <a:pt x="197" y="359"/>
                    <a:pt x="185" y="373"/>
                    <a:pt x="178" y="361"/>
                  </a:cubicBezTo>
                  <a:cubicBezTo>
                    <a:pt x="173" y="362"/>
                    <a:pt x="171" y="365"/>
                    <a:pt x="167" y="366"/>
                  </a:cubicBezTo>
                  <a:cubicBezTo>
                    <a:pt x="166" y="364"/>
                    <a:pt x="168" y="361"/>
                    <a:pt x="166" y="361"/>
                  </a:cubicBezTo>
                  <a:cubicBezTo>
                    <a:pt x="161" y="364"/>
                    <a:pt x="159" y="358"/>
                    <a:pt x="158" y="354"/>
                  </a:cubicBezTo>
                  <a:cubicBezTo>
                    <a:pt x="159" y="348"/>
                    <a:pt x="165" y="347"/>
                    <a:pt x="166" y="341"/>
                  </a:cubicBezTo>
                  <a:cubicBezTo>
                    <a:pt x="166" y="339"/>
                    <a:pt x="162" y="341"/>
                    <a:pt x="162" y="339"/>
                  </a:cubicBezTo>
                  <a:cubicBezTo>
                    <a:pt x="162" y="334"/>
                    <a:pt x="164" y="331"/>
                    <a:pt x="164" y="326"/>
                  </a:cubicBezTo>
                  <a:cubicBezTo>
                    <a:pt x="157" y="325"/>
                    <a:pt x="159" y="334"/>
                    <a:pt x="151" y="333"/>
                  </a:cubicBezTo>
                  <a:cubicBezTo>
                    <a:pt x="146" y="341"/>
                    <a:pt x="149" y="353"/>
                    <a:pt x="153" y="362"/>
                  </a:cubicBezTo>
                  <a:cubicBezTo>
                    <a:pt x="152" y="362"/>
                    <a:pt x="151" y="362"/>
                    <a:pt x="150" y="362"/>
                  </a:cubicBezTo>
                  <a:cubicBezTo>
                    <a:pt x="150" y="365"/>
                    <a:pt x="153" y="364"/>
                    <a:pt x="152" y="367"/>
                  </a:cubicBezTo>
                  <a:cubicBezTo>
                    <a:pt x="149" y="366"/>
                    <a:pt x="152" y="370"/>
                    <a:pt x="150" y="370"/>
                  </a:cubicBezTo>
                  <a:cubicBezTo>
                    <a:pt x="137" y="368"/>
                    <a:pt x="125" y="380"/>
                    <a:pt x="122" y="391"/>
                  </a:cubicBezTo>
                  <a:cubicBezTo>
                    <a:pt x="119" y="389"/>
                    <a:pt x="115" y="394"/>
                    <a:pt x="111" y="395"/>
                  </a:cubicBezTo>
                  <a:cubicBezTo>
                    <a:pt x="111" y="398"/>
                    <a:pt x="110" y="401"/>
                    <a:pt x="109" y="403"/>
                  </a:cubicBezTo>
                  <a:cubicBezTo>
                    <a:pt x="104" y="403"/>
                    <a:pt x="102" y="407"/>
                    <a:pt x="102" y="409"/>
                  </a:cubicBezTo>
                  <a:cubicBezTo>
                    <a:pt x="98" y="409"/>
                    <a:pt x="95" y="409"/>
                    <a:pt x="94" y="405"/>
                  </a:cubicBezTo>
                  <a:cubicBezTo>
                    <a:pt x="94" y="407"/>
                    <a:pt x="91" y="406"/>
                    <a:pt x="90" y="405"/>
                  </a:cubicBezTo>
                  <a:cubicBezTo>
                    <a:pt x="89" y="410"/>
                    <a:pt x="94" y="410"/>
                    <a:pt x="93" y="415"/>
                  </a:cubicBezTo>
                  <a:cubicBezTo>
                    <a:pt x="85" y="416"/>
                    <a:pt x="80" y="411"/>
                    <a:pt x="74" y="417"/>
                  </a:cubicBezTo>
                  <a:cubicBezTo>
                    <a:pt x="74" y="420"/>
                    <a:pt x="78" y="419"/>
                    <a:pt x="74" y="421"/>
                  </a:cubicBezTo>
                  <a:cubicBezTo>
                    <a:pt x="80" y="424"/>
                    <a:pt x="90" y="425"/>
                    <a:pt x="91" y="435"/>
                  </a:cubicBezTo>
                  <a:cubicBezTo>
                    <a:pt x="94" y="435"/>
                    <a:pt x="95" y="436"/>
                    <a:pt x="95" y="438"/>
                  </a:cubicBezTo>
                  <a:cubicBezTo>
                    <a:pt x="93" y="444"/>
                    <a:pt x="95" y="455"/>
                    <a:pt x="91" y="460"/>
                  </a:cubicBezTo>
                  <a:cubicBezTo>
                    <a:pt x="81" y="457"/>
                    <a:pt x="67" y="459"/>
                    <a:pt x="56" y="456"/>
                  </a:cubicBezTo>
                  <a:cubicBezTo>
                    <a:pt x="54" y="460"/>
                    <a:pt x="47" y="458"/>
                    <a:pt x="47" y="464"/>
                  </a:cubicBezTo>
                  <a:cubicBezTo>
                    <a:pt x="54" y="472"/>
                    <a:pt x="49" y="486"/>
                    <a:pt x="46" y="497"/>
                  </a:cubicBezTo>
                  <a:cubicBezTo>
                    <a:pt x="47" y="498"/>
                    <a:pt x="48" y="499"/>
                    <a:pt x="50" y="500"/>
                  </a:cubicBezTo>
                  <a:cubicBezTo>
                    <a:pt x="50" y="502"/>
                    <a:pt x="48" y="507"/>
                    <a:pt x="50" y="510"/>
                  </a:cubicBezTo>
                  <a:cubicBezTo>
                    <a:pt x="55" y="509"/>
                    <a:pt x="56" y="509"/>
                    <a:pt x="62" y="508"/>
                  </a:cubicBezTo>
                  <a:cubicBezTo>
                    <a:pt x="65" y="511"/>
                    <a:pt x="65" y="517"/>
                    <a:pt x="71" y="516"/>
                  </a:cubicBezTo>
                  <a:cubicBezTo>
                    <a:pt x="74" y="510"/>
                    <a:pt x="83" y="512"/>
                    <a:pt x="90" y="511"/>
                  </a:cubicBezTo>
                  <a:cubicBezTo>
                    <a:pt x="92" y="508"/>
                    <a:pt x="94" y="505"/>
                    <a:pt x="99" y="505"/>
                  </a:cubicBezTo>
                  <a:cubicBezTo>
                    <a:pt x="98" y="500"/>
                    <a:pt x="101" y="498"/>
                    <a:pt x="104" y="497"/>
                  </a:cubicBezTo>
                  <a:cubicBezTo>
                    <a:pt x="104" y="493"/>
                    <a:pt x="101" y="493"/>
                    <a:pt x="101" y="490"/>
                  </a:cubicBezTo>
                  <a:cubicBezTo>
                    <a:pt x="106" y="481"/>
                    <a:pt x="112" y="478"/>
                    <a:pt x="122" y="473"/>
                  </a:cubicBezTo>
                  <a:cubicBezTo>
                    <a:pt x="122" y="469"/>
                    <a:pt x="120" y="467"/>
                    <a:pt x="120" y="464"/>
                  </a:cubicBezTo>
                  <a:cubicBezTo>
                    <a:pt x="123" y="456"/>
                    <a:pt x="131" y="464"/>
                    <a:pt x="136" y="464"/>
                  </a:cubicBezTo>
                  <a:cubicBezTo>
                    <a:pt x="144" y="463"/>
                    <a:pt x="146" y="455"/>
                    <a:pt x="155" y="452"/>
                  </a:cubicBezTo>
                  <a:cubicBezTo>
                    <a:pt x="164" y="460"/>
                    <a:pt x="166" y="475"/>
                    <a:pt x="181" y="478"/>
                  </a:cubicBezTo>
                  <a:cubicBezTo>
                    <a:pt x="182" y="480"/>
                    <a:pt x="183" y="482"/>
                    <a:pt x="185" y="483"/>
                  </a:cubicBezTo>
                  <a:cubicBezTo>
                    <a:pt x="185" y="482"/>
                    <a:pt x="186" y="483"/>
                    <a:pt x="188" y="483"/>
                  </a:cubicBezTo>
                  <a:cubicBezTo>
                    <a:pt x="188" y="484"/>
                    <a:pt x="187" y="484"/>
                    <a:pt x="187" y="486"/>
                  </a:cubicBezTo>
                  <a:cubicBezTo>
                    <a:pt x="198" y="487"/>
                    <a:pt x="192" y="496"/>
                    <a:pt x="193" y="503"/>
                  </a:cubicBezTo>
                  <a:cubicBezTo>
                    <a:pt x="199" y="503"/>
                    <a:pt x="198" y="495"/>
                    <a:pt x="203" y="493"/>
                  </a:cubicBezTo>
                  <a:cubicBezTo>
                    <a:pt x="201" y="493"/>
                    <a:pt x="203" y="491"/>
                    <a:pt x="203" y="490"/>
                  </a:cubicBezTo>
                  <a:cubicBezTo>
                    <a:pt x="202" y="489"/>
                    <a:pt x="199" y="489"/>
                    <a:pt x="199" y="487"/>
                  </a:cubicBezTo>
                  <a:cubicBezTo>
                    <a:pt x="200" y="486"/>
                    <a:pt x="200" y="485"/>
                    <a:pt x="202" y="484"/>
                  </a:cubicBezTo>
                  <a:cubicBezTo>
                    <a:pt x="205" y="485"/>
                    <a:pt x="206" y="489"/>
                    <a:pt x="209" y="490"/>
                  </a:cubicBezTo>
                  <a:cubicBezTo>
                    <a:pt x="213" y="482"/>
                    <a:pt x="203" y="477"/>
                    <a:pt x="196" y="475"/>
                  </a:cubicBezTo>
                  <a:cubicBezTo>
                    <a:pt x="197" y="474"/>
                    <a:pt x="198" y="473"/>
                    <a:pt x="197" y="471"/>
                  </a:cubicBezTo>
                  <a:cubicBezTo>
                    <a:pt x="186" y="474"/>
                    <a:pt x="186" y="463"/>
                    <a:pt x="183" y="459"/>
                  </a:cubicBezTo>
                  <a:cubicBezTo>
                    <a:pt x="179" y="453"/>
                    <a:pt x="172" y="453"/>
                    <a:pt x="174" y="444"/>
                  </a:cubicBezTo>
                  <a:cubicBezTo>
                    <a:pt x="176" y="444"/>
                    <a:pt x="177" y="443"/>
                    <a:pt x="180" y="443"/>
                  </a:cubicBezTo>
                  <a:cubicBezTo>
                    <a:pt x="180" y="446"/>
                    <a:pt x="181" y="449"/>
                    <a:pt x="183" y="449"/>
                  </a:cubicBezTo>
                  <a:cubicBezTo>
                    <a:pt x="185" y="449"/>
                    <a:pt x="184" y="445"/>
                    <a:pt x="187" y="446"/>
                  </a:cubicBezTo>
                  <a:cubicBezTo>
                    <a:pt x="186" y="465"/>
                    <a:pt x="219" y="462"/>
                    <a:pt x="213" y="483"/>
                  </a:cubicBezTo>
                  <a:cubicBezTo>
                    <a:pt x="217" y="490"/>
                    <a:pt x="224" y="496"/>
                    <a:pt x="225" y="504"/>
                  </a:cubicBezTo>
                  <a:cubicBezTo>
                    <a:pt x="229" y="504"/>
                    <a:pt x="230" y="501"/>
                    <a:pt x="233" y="501"/>
                  </a:cubicBezTo>
                  <a:cubicBezTo>
                    <a:pt x="235" y="502"/>
                    <a:pt x="238" y="504"/>
                    <a:pt x="241" y="505"/>
                  </a:cubicBezTo>
                  <a:cubicBezTo>
                    <a:pt x="245" y="499"/>
                    <a:pt x="238" y="496"/>
                    <a:pt x="235" y="494"/>
                  </a:cubicBezTo>
                  <a:cubicBezTo>
                    <a:pt x="237" y="494"/>
                    <a:pt x="238" y="493"/>
                    <a:pt x="238" y="492"/>
                  </a:cubicBezTo>
                  <a:cubicBezTo>
                    <a:pt x="236" y="489"/>
                    <a:pt x="234" y="488"/>
                    <a:pt x="234" y="484"/>
                  </a:cubicBezTo>
                  <a:cubicBezTo>
                    <a:pt x="236" y="485"/>
                    <a:pt x="236" y="489"/>
                    <a:pt x="239" y="488"/>
                  </a:cubicBezTo>
                  <a:cubicBezTo>
                    <a:pt x="241" y="487"/>
                    <a:pt x="243" y="486"/>
                    <a:pt x="245" y="485"/>
                  </a:cubicBezTo>
                  <a:cubicBezTo>
                    <a:pt x="244" y="484"/>
                    <a:pt x="242" y="483"/>
                    <a:pt x="242" y="481"/>
                  </a:cubicBezTo>
                  <a:cubicBezTo>
                    <a:pt x="247" y="481"/>
                    <a:pt x="251" y="480"/>
                    <a:pt x="253" y="483"/>
                  </a:cubicBezTo>
                  <a:cubicBezTo>
                    <a:pt x="253" y="487"/>
                    <a:pt x="252" y="488"/>
                    <a:pt x="252" y="491"/>
                  </a:cubicBezTo>
                  <a:cubicBezTo>
                    <a:pt x="254" y="492"/>
                    <a:pt x="256" y="492"/>
                    <a:pt x="256" y="495"/>
                  </a:cubicBezTo>
                  <a:cubicBezTo>
                    <a:pt x="255" y="497"/>
                    <a:pt x="253" y="498"/>
                    <a:pt x="253" y="501"/>
                  </a:cubicBezTo>
                  <a:cubicBezTo>
                    <a:pt x="258" y="502"/>
                    <a:pt x="259" y="507"/>
                    <a:pt x="259" y="510"/>
                  </a:cubicBezTo>
                  <a:cubicBezTo>
                    <a:pt x="263" y="509"/>
                    <a:pt x="263" y="512"/>
                    <a:pt x="263" y="513"/>
                  </a:cubicBezTo>
                  <a:cubicBezTo>
                    <a:pt x="266" y="514"/>
                    <a:pt x="265" y="511"/>
                    <a:pt x="268" y="511"/>
                  </a:cubicBezTo>
                  <a:cubicBezTo>
                    <a:pt x="269" y="513"/>
                    <a:pt x="272" y="514"/>
                    <a:pt x="272" y="516"/>
                  </a:cubicBezTo>
                  <a:cubicBezTo>
                    <a:pt x="276" y="517"/>
                    <a:pt x="276" y="515"/>
                    <a:pt x="279" y="516"/>
                  </a:cubicBezTo>
                  <a:cubicBezTo>
                    <a:pt x="281" y="515"/>
                    <a:pt x="280" y="511"/>
                    <a:pt x="282" y="511"/>
                  </a:cubicBezTo>
                  <a:cubicBezTo>
                    <a:pt x="288" y="516"/>
                    <a:pt x="298" y="520"/>
                    <a:pt x="303" y="512"/>
                  </a:cubicBezTo>
                  <a:cubicBezTo>
                    <a:pt x="304" y="513"/>
                    <a:pt x="307" y="513"/>
                    <a:pt x="308" y="515"/>
                  </a:cubicBezTo>
                  <a:cubicBezTo>
                    <a:pt x="312" y="526"/>
                    <a:pt x="304" y="539"/>
                    <a:pt x="299" y="549"/>
                  </a:cubicBezTo>
                  <a:cubicBezTo>
                    <a:pt x="294" y="549"/>
                    <a:pt x="290" y="551"/>
                    <a:pt x="286" y="547"/>
                  </a:cubicBezTo>
                  <a:cubicBezTo>
                    <a:pt x="278" y="546"/>
                    <a:pt x="275" y="549"/>
                    <a:pt x="271" y="551"/>
                  </a:cubicBezTo>
                  <a:cubicBezTo>
                    <a:pt x="263" y="549"/>
                    <a:pt x="258" y="546"/>
                    <a:pt x="248" y="547"/>
                  </a:cubicBezTo>
                  <a:cubicBezTo>
                    <a:pt x="248" y="545"/>
                    <a:pt x="248" y="544"/>
                    <a:pt x="247" y="544"/>
                  </a:cubicBezTo>
                  <a:cubicBezTo>
                    <a:pt x="235" y="542"/>
                    <a:pt x="226" y="532"/>
                    <a:pt x="217" y="543"/>
                  </a:cubicBezTo>
                  <a:cubicBezTo>
                    <a:pt x="218" y="550"/>
                    <a:pt x="218" y="553"/>
                    <a:pt x="212" y="555"/>
                  </a:cubicBezTo>
                  <a:cubicBezTo>
                    <a:pt x="207" y="548"/>
                    <a:pt x="191" y="551"/>
                    <a:pt x="190" y="540"/>
                  </a:cubicBezTo>
                  <a:cubicBezTo>
                    <a:pt x="183" y="537"/>
                    <a:pt x="170" y="540"/>
                    <a:pt x="167" y="532"/>
                  </a:cubicBezTo>
                  <a:cubicBezTo>
                    <a:pt x="163" y="533"/>
                    <a:pt x="163" y="532"/>
                    <a:pt x="161" y="530"/>
                  </a:cubicBezTo>
                  <a:cubicBezTo>
                    <a:pt x="162" y="525"/>
                    <a:pt x="168" y="525"/>
                    <a:pt x="167" y="519"/>
                  </a:cubicBezTo>
                  <a:cubicBezTo>
                    <a:pt x="167" y="517"/>
                    <a:pt x="163" y="518"/>
                    <a:pt x="164" y="515"/>
                  </a:cubicBezTo>
                  <a:cubicBezTo>
                    <a:pt x="164" y="512"/>
                    <a:pt x="167" y="511"/>
                    <a:pt x="167" y="508"/>
                  </a:cubicBezTo>
                  <a:cubicBezTo>
                    <a:pt x="165" y="506"/>
                    <a:pt x="164" y="509"/>
                    <a:pt x="162" y="510"/>
                  </a:cubicBezTo>
                  <a:cubicBezTo>
                    <a:pt x="162" y="507"/>
                    <a:pt x="160" y="506"/>
                    <a:pt x="158" y="506"/>
                  </a:cubicBezTo>
                  <a:cubicBezTo>
                    <a:pt x="151" y="509"/>
                    <a:pt x="145" y="509"/>
                    <a:pt x="138" y="507"/>
                  </a:cubicBezTo>
                  <a:cubicBezTo>
                    <a:pt x="137" y="508"/>
                    <a:pt x="136" y="510"/>
                    <a:pt x="133" y="510"/>
                  </a:cubicBezTo>
                  <a:cubicBezTo>
                    <a:pt x="123" y="508"/>
                    <a:pt x="109" y="509"/>
                    <a:pt x="101" y="516"/>
                  </a:cubicBezTo>
                  <a:cubicBezTo>
                    <a:pt x="97" y="514"/>
                    <a:pt x="93" y="520"/>
                    <a:pt x="90" y="521"/>
                  </a:cubicBezTo>
                  <a:cubicBezTo>
                    <a:pt x="82" y="519"/>
                    <a:pt x="75" y="523"/>
                    <a:pt x="69" y="517"/>
                  </a:cubicBezTo>
                  <a:cubicBezTo>
                    <a:pt x="64" y="520"/>
                    <a:pt x="65" y="529"/>
                    <a:pt x="60" y="531"/>
                  </a:cubicBezTo>
                  <a:cubicBezTo>
                    <a:pt x="50" y="533"/>
                    <a:pt x="47" y="542"/>
                    <a:pt x="44" y="550"/>
                  </a:cubicBezTo>
                  <a:cubicBezTo>
                    <a:pt x="44" y="553"/>
                    <a:pt x="46" y="554"/>
                    <a:pt x="46" y="557"/>
                  </a:cubicBezTo>
                  <a:cubicBezTo>
                    <a:pt x="41" y="563"/>
                    <a:pt x="36" y="569"/>
                    <a:pt x="27" y="571"/>
                  </a:cubicBezTo>
                  <a:cubicBezTo>
                    <a:pt x="25" y="580"/>
                    <a:pt x="15" y="582"/>
                    <a:pt x="15" y="593"/>
                  </a:cubicBezTo>
                  <a:cubicBezTo>
                    <a:pt x="9" y="599"/>
                    <a:pt x="2" y="608"/>
                    <a:pt x="4" y="618"/>
                  </a:cubicBezTo>
                  <a:cubicBezTo>
                    <a:pt x="4" y="617"/>
                    <a:pt x="4" y="616"/>
                    <a:pt x="5" y="616"/>
                  </a:cubicBezTo>
                  <a:cubicBezTo>
                    <a:pt x="10" y="627"/>
                    <a:pt x="10" y="645"/>
                    <a:pt x="0" y="653"/>
                  </a:cubicBezTo>
                  <a:cubicBezTo>
                    <a:pt x="4" y="654"/>
                    <a:pt x="5" y="658"/>
                    <a:pt x="6" y="661"/>
                  </a:cubicBezTo>
                  <a:cubicBezTo>
                    <a:pt x="3" y="660"/>
                    <a:pt x="5" y="666"/>
                    <a:pt x="5" y="668"/>
                  </a:cubicBezTo>
                  <a:cubicBezTo>
                    <a:pt x="8" y="669"/>
                    <a:pt x="9" y="672"/>
                    <a:pt x="14" y="671"/>
                  </a:cubicBezTo>
                  <a:cubicBezTo>
                    <a:pt x="13" y="672"/>
                    <a:pt x="11" y="672"/>
                    <a:pt x="12" y="675"/>
                  </a:cubicBezTo>
                  <a:cubicBezTo>
                    <a:pt x="17" y="678"/>
                    <a:pt x="21" y="682"/>
                    <a:pt x="25" y="687"/>
                  </a:cubicBezTo>
                  <a:cubicBezTo>
                    <a:pt x="26" y="691"/>
                    <a:pt x="25" y="690"/>
                    <a:pt x="26" y="694"/>
                  </a:cubicBezTo>
                  <a:cubicBezTo>
                    <a:pt x="37" y="700"/>
                    <a:pt x="46" y="710"/>
                    <a:pt x="59" y="715"/>
                  </a:cubicBezTo>
                  <a:cubicBezTo>
                    <a:pt x="66" y="710"/>
                    <a:pt x="81" y="707"/>
                    <a:pt x="90" y="713"/>
                  </a:cubicBezTo>
                  <a:cubicBezTo>
                    <a:pt x="100" y="708"/>
                    <a:pt x="112" y="704"/>
                    <a:pt x="125" y="702"/>
                  </a:cubicBezTo>
                  <a:cubicBezTo>
                    <a:pt x="129" y="705"/>
                    <a:pt x="134" y="706"/>
                    <a:pt x="133" y="713"/>
                  </a:cubicBezTo>
                  <a:cubicBezTo>
                    <a:pt x="138" y="716"/>
                    <a:pt x="147" y="715"/>
                    <a:pt x="151" y="713"/>
                  </a:cubicBezTo>
                  <a:cubicBezTo>
                    <a:pt x="153" y="715"/>
                    <a:pt x="155" y="717"/>
                    <a:pt x="158" y="718"/>
                  </a:cubicBezTo>
                  <a:cubicBezTo>
                    <a:pt x="157" y="719"/>
                    <a:pt x="160" y="724"/>
                    <a:pt x="159" y="728"/>
                  </a:cubicBezTo>
                  <a:cubicBezTo>
                    <a:pt x="161" y="728"/>
                    <a:pt x="164" y="728"/>
                    <a:pt x="166" y="728"/>
                  </a:cubicBezTo>
                  <a:cubicBezTo>
                    <a:pt x="167" y="729"/>
                    <a:pt x="167" y="732"/>
                    <a:pt x="167" y="734"/>
                  </a:cubicBezTo>
                  <a:cubicBezTo>
                    <a:pt x="164" y="734"/>
                    <a:pt x="159" y="733"/>
                    <a:pt x="157" y="735"/>
                  </a:cubicBezTo>
                  <a:cubicBezTo>
                    <a:pt x="157" y="736"/>
                    <a:pt x="156" y="736"/>
                    <a:pt x="155" y="737"/>
                  </a:cubicBezTo>
                  <a:cubicBezTo>
                    <a:pt x="156" y="738"/>
                    <a:pt x="157" y="738"/>
                    <a:pt x="158" y="739"/>
                  </a:cubicBezTo>
                  <a:cubicBezTo>
                    <a:pt x="155" y="740"/>
                    <a:pt x="155" y="744"/>
                    <a:pt x="153" y="746"/>
                  </a:cubicBezTo>
                  <a:cubicBezTo>
                    <a:pt x="157" y="748"/>
                    <a:pt x="154" y="750"/>
                    <a:pt x="155" y="752"/>
                  </a:cubicBezTo>
                  <a:cubicBezTo>
                    <a:pt x="156" y="754"/>
                    <a:pt x="158" y="754"/>
                    <a:pt x="160" y="755"/>
                  </a:cubicBezTo>
                  <a:cubicBezTo>
                    <a:pt x="163" y="758"/>
                    <a:pt x="167" y="763"/>
                    <a:pt x="169" y="766"/>
                  </a:cubicBezTo>
                  <a:cubicBezTo>
                    <a:pt x="172" y="770"/>
                    <a:pt x="171" y="773"/>
                    <a:pt x="173" y="776"/>
                  </a:cubicBezTo>
                  <a:cubicBezTo>
                    <a:pt x="175" y="781"/>
                    <a:pt x="179" y="784"/>
                    <a:pt x="179" y="790"/>
                  </a:cubicBezTo>
                  <a:cubicBezTo>
                    <a:pt x="180" y="793"/>
                    <a:pt x="177" y="792"/>
                    <a:pt x="178" y="795"/>
                  </a:cubicBezTo>
                  <a:cubicBezTo>
                    <a:pt x="189" y="808"/>
                    <a:pt x="172" y="814"/>
                    <a:pt x="173" y="829"/>
                  </a:cubicBezTo>
                  <a:cubicBezTo>
                    <a:pt x="171" y="831"/>
                    <a:pt x="170" y="832"/>
                    <a:pt x="169" y="835"/>
                  </a:cubicBezTo>
                  <a:cubicBezTo>
                    <a:pt x="169" y="854"/>
                    <a:pt x="180" y="862"/>
                    <a:pt x="186" y="875"/>
                  </a:cubicBezTo>
                  <a:cubicBezTo>
                    <a:pt x="183" y="901"/>
                    <a:pt x="201" y="917"/>
                    <a:pt x="207" y="940"/>
                  </a:cubicBezTo>
                  <a:cubicBezTo>
                    <a:pt x="208" y="942"/>
                    <a:pt x="204" y="941"/>
                    <a:pt x="205" y="943"/>
                  </a:cubicBezTo>
                  <a:cubicBezTo>
                    <a:pt x="207" y="946"/>
                    <a:pt x="209" y="948"/>
                    <a:pt x="207" y="952"/>
                  </a:cubicBezTo>
                  <a:cubicBezTo>
                    <a:pt x="212" y="954"/>
                    <a:pt x="213" y="954"/>
                    <a:pt x="216" y="957"/>
                  </a:cubicBezTo>
                  <a:cubicBezTo>
                    <a:pt x="225" y="954"/>
                    <a:pt x="237" y="949"/>
                    <a:pt x="244" y="953"/>
                  </a:cubicBezTo>
                  <a:cubicBezTo>
                    <a:pt x="248" y="950"/>
                    <a:pt x="252" y="952"/>
                    <a:pt x="257" y="950"/>
                  </a:cubicBezTo>
                  <a:cubicBezTo>
                    <a:pt x="272" y="944"/>
                    <a:pt x="278" y="924"/>
                    <a:pt x="291" y="915"/>
                  </a:cubicBezTo>
                  <a:cubicBezTo>
                    <a:pt x="291" y="910"/>
                    <a:pt x="294" y="904"/>
                    <a:pt x="294" y="899"/>
                  </a:cubicBezTo>
                  <a:cubicBezTo>
                    <a:pt x="294" y="897"/>
                    <a:pt x="291" y="898"/>
                    <a:pt x="291" y="896"/>
                  </a:cubicBezTo>
                  <a:cubicBezTo>
                    <a:pt x="296" y="891"/>
                    <a:pt x="305" y="890"/>
                    <a:pt x="309" y="885"/>
                  </a:cubicBezTo>
                  <a:cubicBezTo>
                    <a:pt x="309" y="875"/>
                    <a:pt x="307" y="867"/>
                    <a:pt x="304" y="860"/>
                  </a:cubicBezTo>
                  <a:cubicBezTo>
                    <a:pt x="308" y="856"/>
                    <a:pt x="312" y="849"/>
                    <a:pt x="319" y="844"/>
                  </a:cubicBezTo>
                  <a:cubicBezTo>
                    <a:pt x="327" y="840"/>
                    <a:pt x="335" y="838"/>
                    <a:pt x="338" y="831"/>
                  </a:cubicBezTo>
                  <a:cubicBezTo>
                    <a:pt x="342" y="823"/>
                    <a:pt x="335" y="816"/>
                    <a:pt x="337" y="807"/>
                  </a:cubicBezTo>
                  <a:cubicBezTo>
                    <a:pt x="337" y="805"/>
                    <a:pt x="339" y="804"/>
                    <a:pt x="338" y="802"/>
                  </a:cubicBezTo>
                  <a:cubicBezTo>
                    <a:pt x="334" y="799"/>
                    <a:pt x="331" y="796"/>
                    <a:pt x="331" y="789"/>
                  </a:cubicBezTo>
                  <a:cubicBezTo>
                    <a:pt x="331" y="787"/>
                    <a:pt x="333" y="782"/>
                    <a:pt x="333" y="781"/>
                  </a:cubicBezTo>
                  <a:cubicBezTo>
                    <a:pt x="332" y="778"/>
                    <a:pt x="329" y="778"/>
                    <a:pt x="329" y="775"/>
                  </a:cubicBezTo>
                  <a:cubicBezTo>
                    <a:pt x="328" y="770"/>
                    <a:pt x="331" y="769"/>
                    <a:pt x="333" y="767"/>
                  </a:cubicBezTo>
                  <a:cubicBezTo>
                    <a:pt x="338" y="759"/>
                    <a:pt x="337" y="754"/>
                    <a:pt x="344" y="752"/>
                  </a:cubicBezTo>
                  <a:cubicBezTo>
                    <a:pt x="347" y="738"/>
                    <a:pt x="362" y="735"/>
                    <a:pt x="371" y="726"/>
                  </a:cubicBezTo>
                  <a:cubicBezTo>
                    <a:pt x="380" y="718"/>
                    <a:pt x="386" y="704"/>
                    <a:pt x="392" y="693"/>
                  </a:cubicBezTo>
                  <a:cubicBezTo>
                    <a:pt x="396" y="686"/>
                    <a:pt x="402" y="678"/>
                    <a:pt x="399" y="670"/>
                  </a:cubicBezTo>
                  <a:cubicBezTo>
                    <a:pt x="385" y="675"/>
                    <a:pt x="374" y="675"/>
                    <a:pt x="359" y="679"/>
                  </a:cubicBezTo>
                  <a:cubicBezTo>
                    <a:pt x="357" y="675"/>
                    <a:pt x="355" y="673"/>
                    <a:pt x="351" y="671"/>
                  </a:cubicBezTo>
                  <a:cubicBezTo>
                    <a:pt x="352" y="670"/>
                    <a:pt x="355" y="671"/>
                    <a:pt x="355" y="668"/>
                  </a:cubicBezTo>
                  <a:cubicBezTo>
                    <a:pt x="353" y="664"/>
                    <a:pt x="348" y="664"/>
                    <a:pt x="347" y="658"/>
                  </a:cubicBezTo>
                  <a:cubicBezTo>
                    <a:pt x="341" y="658"/>
                    <a:pt x="337" y="647"/>
                    <a:pt x="333" y="650"/>
                  </a:cubicBezTo>
                  <a:cubicBezTo>
                    <a:pt x="329" y="641"/>
                    <a:pt x="328" y="631"/>
                    <a:pt x="319" y="627"/>
                  </a:cubicBezTo>
                  <a:cubicBezTo>
                    <a:pt x="319" y="616"/>
                    <a:pt x="317" y="606"/>
                    <a:pt x="310" y="602"/>
                  </a:cubicBezTo>
                  <a:cubicBezTo>
                    <a:pt x="308" y="600"/>
                    <a:pt x="309" y="598"/>
                    <a:pt x="310" y="596"/>
                  </a:cubicBezTo>
                  <a:cubicBezTo>
                    <a:pt x="301" y="587"/>
                    <a:pt x="297" y="572"/>
                    <a:pt x="291" y="559"/>
                  </a:cubicBezTo>
                  <a:cubicBezTo>
                    <a:pt x="295" y="563"/>
                    <a:pt x="295" y="571"/>
                    <a:pt x="301" y="572"/>
                  </a:cubicBezTo>
                  <a:cubicBezTo>
                    <a:pt x="302" y="572"/>
                    <a:pt x="301" y="569"/>
                    <a:pt x="303" y="569"/>
                  </a:cubicBezTo>
                  <a:cubicBezTo>
                    <a:pt x="309" y="576"/>
                    <a:pt x="317" y="583"/>
                    <a:pt x="317" y="593"/>
                  </a:cubicBezTo>
                  <a:cubicBezTo>
                    <a:pt x="328" y="596"/>
                    <a:pt x="325" y="605"/>
                    <a:pt x="329" y="614"/>
                  </a:cubicBezTo>
                  <a:cubicBezTo>
                    <a:pt x="330" y="619"/>
                    <a:pt x="335" y="620"/>
                    <a:pt x="338" y="624"/>
                  </a:cubicBezTo>
                  <a:cubicBezTo>
                    <a:pt x="340" y="626"/>
                    <a:pt x="340" y="630"/>
                    <a:pt x="342" y="633"/>
                  </a:cubicBezTo>
                  <a:cubicBezTo>
                    <a:pt x="345" y="638"/>
                    <a:pt x="349" y="640"/>
                    <a:pt x="350" y="644"/>
                  </a:cubicBezTo>
                  <a:cubicBezTo>
                    <a:pt x="352" y="651"/>
                    <a:pt x="351" y="658"/>
                    <a:pt x="353" y="665"/>
                  </a:cubicBezTo>
                  <a:cubicBezTo>
                    <a:pt x="358" y="669"/>
                    <a:pt x="364" y="665"/>
                    <a:pt x="369" y="662"/>
                  </a:cubicBezTo>
                  <a:cubicBezTo>
                    <a:pt x="377" y="663"/>
                    <a:pt x="378" y="657"/>
                    <a:pt x="385" y="658"/>
                  </a:cubicBezTo>
                  <a:cubicBezTo>
                    <a:pt x="389" y="653"/>
                    <a:pt x="397" y="653"/>
                    <a:pt x="404" y="650"/>
                  </a:cubicBezTo>
                  <a:cubicBezTo>
                    <a:pt x="406" y="642"/>
                    <a:pt x="416" y="640"/>
                    <a:pt x="423" y="639"/>
                  </a:cubicBezTo>
                  <a:cubicBezTo>
                    <a:pt x="424" y="638"/>
                    <a:pt x="422" y="635"/>
                    <a:pt x="424" y="635"/>
                  </a:cubicBezTo>
                  <a:cubicBezTo>
                    <a:pt x="430" y="636"/>
                    <a:pt x="430" y="627"/>
                    <a:pt x="438" y="628"/>
                  </a:cubicBezTo>
                  <a:cubicBezTo>
                    <a:pt x="437" y="625"/>
                    <a:pt x="438" y="623"/>
                    <a:pt x="438" y="619"/>
                  </a:cubicBezTo>
                  <a:cubicBezTo>
                    <a:pt x="445" y="618"/>
                    <a:pt x="447" y="612"/>
                    <a:pt x="450" y="606"/>
                  </a:cubicBezTo>
                  <a:cubicBezTo>
                    <a:pt x="443" y="598"/>
                    <a:pt x="426" y="597"/>
                    <a:pt x="429" y="582"/>
                  </a:cubicBezTo>
                  <a:cubicBezTo>
                    <a:pt x="422" y="588"/>
                    <a:pt x="419" y="599"/>
                    <a:pt x="402" y="596"/>
                  </a:cubicBezTo>
                  <a:cubicBezTo>
                    <a:pt x="397" y="593"/>
                    <a:pt x="395" y="588"/>
                    <a:pt x="393" y="582"/>
                  </a:cubicBezTo>
                  <a:cubicBezTo>
                    <a:pt x="394" y="581"/>
                    <a:pt x="394" y="579"/>
                    <a:pt x="394" y="577"/>
                  </a:cubicBezTo>
                  <a:cubicBezTo>
                    <a:pt x="386" y="574"/>
                    <a:pt x="383" y="566"/>
                    <a:pt x="381" y="558"/>
                  </a:cubicBezTo>
                  <a:cubicBezTo>
                    <a:pt x="385" y="558"/>
                    <a:pt x="386" y="557"/>
                    <a:pt x="387" y="555"/>
                  </a:cubicBezTo>
                  <a:cubicBezTo>
                    <a:pt x="395" y="558"/>
                    <a:pt x="397" y="566"/>
                    <a:pt x="401" y="572"/>
                  </a:cubicBezTo>
                  <a:cubicBezTo>
                    <a:pt x="408" y="574"/>
                    <a:pt x="412" y="580"/>
                    <a:pt x="420" y="582"/>
                  </a:cubicBezTo>
                  <a:cubicBezTo>
                    <a:pt x="422" y="579"/>
                    <a:pt x="427" y="575"/>
                    <a:pt x="432" y="577"/>
                  </a:cubicBezTo>
                  <a:cubicBezTo>
                    <a:pt x="430" y="587"/>
                    <a:pt x="440" y="585"/>
                    <a:pt x="444" y="589"/>
                  </a:cubicBezTo>
                  <a:cubicBezTo>
                    <a:pt x="458" y="589"/>
                    <a:pt x="474" y="591"/>
                    <a:pt x="488" y="587"/>
                  </a:cubicBezTo>
                  <a:cubicBezTo>
                    <a:pt x="492" y="596"/>
                    <a:pt x="497" y="604"/>
                    <a:pt x="509" y="605"/>
                  </a:cubicBezTo>
                  <a:cubicBezTo>
                    <a:pt x="507" y="607"/>
                    <a:pt x="502" y="605"/>
                    <a:pt x="500" y="607"/>
                  </a:cubicBezTo>
                  <a:cubicBezTo>
                    <a:pt x="503" y="617"/>
                    <a:pt x="522" y="623"/>
                    <a:pt x="523" y="609"/>
                  </a:cubicBezTo>
                  <a:cubicBezTo>
                    <a:pt x="523" y="613"/>
                    <a:pt x="523" y="616"/>
                    <a:pt x="526" y="617"/>
                  </a:cubicBezTo>
                  <a:cubicBezTo>
                    <a:pt x="524" y="618"/>
                    <a:pt x="523" y="620"/>
                    <a:pt x="523" y="622"/>
                  </a:cubicBezTo>
                  <a:cubicBezTo>
                    <a:pt x="524" y="642"/>
                    <a:pt x="533" y="653"/>
                    <a:pt x="537" y="670"/>
                  </a:cubicBezTo>
                  <a:cubicBezTo>
                    <a:pt x="546" y="674"/>
                    <a:pt x="542" y="691"/>
                    <a:pt x="553" y="694"/>
                  </a:cubicBezTo>
                  <a:cubicBezTo>
                    <a:pt x="557" y="691"/>
                    <a:pt x="558" y="686"/>
                    <a:pt x="563" y="685"/>
                  </a:cubicBezTo>
                  <a:cubicBezTo>
                    <a:pt x="560" y="684"/>
                    <a:pt x="563" y="679"/>
                    <a:pt x="567" y="680"/>
                  </a:cubicBezTo>
                  <a:cubicBezTo>
                    <a:pt x="563" y="675"/>
                    <a:pt x="569" y="668"/>
                    <a:pt x="569" y="662"/>
                  </a:cubicBezTo>
                  <a:cubicBezTo>
                    <a:pt x="570" y="657"/>
                    <a:pt x="564" y="646"/>
                    <a:pt x="573" y="648"/>
                  </a:cubicBezTo>
                  <a:cubicBezTo>
                    <a:pt x="573" y="644"/>
                    <a:pt x="578" y="645"/>
                    <a:pt x="580" y="643"/>
                  </a:cubicBezTo>
                  <a:cubicBezTo>
                    <a:pt x="584" y="635"/>
                    <a:pt x="594" y="632"/>
                    <a:pt x="598" y="624"/>
                  </a:cubicBezTo>
                  <a:cubicBezTo>
                    <a:pt x="604" y="624"/>
                    <a:pt x="608" y="619"/>
                    <a:pt x="607" y="614"/>
                  </a:cubicBezTo>
                  <a:cubicBezTo>
                    <a:pt x="612" y="611"/>
                    <a:pt x="614" y="612"/>
                    <a:pt x="619" y="613"/>
                  </a:cubicBezTo>
                  <a:cubicBezTo>
                    <a:pt x="622" y="611"/>
                    <a:pt x="624" y="609"/>
                    <a:pt x="626" y="611"/>
                  </a:cubicBezTo>
                  <a:cubicBezTo>
                    <a:pt x="628" y="609"/>
                    <a:pt x="629" y="608"/>
                    <a:pt x="629" y="605"/>
                  </a:cubicBezTo>
                  <a:cubicBezTo>
                    <a:pt x="636" y="605"/>
                    <a:pt x="634" y="613"/>
                    <a:pt x="637" y="617"/>
                  </a:cubicBezTo>
                  <a:cubicBezTo>
                    <a:pt x="639" y="621"/>
                    <a:pt x="643" y="621"/>
                    <a:pt x="646" y="624"/>
                  </a:cubicBezTo>
                  <a:cubicBezTo>
                    <a:pt x="646" y="626"/>
                    <a:pt x="644" y="626"/>
                    <a:pt x="644" y="627"/>
                  </a:cubicBezTo>
                  <a:cubicBezTo>
                    <a:pt x="652" y="628"/>
                    <a:pt x="650" y="640"/>
                    <a:pt x="648" y="647"/>
                  </a:cubicBezTo>
                  <a:cubicBezTo>
                    <a:pt x="652" y="644"/>
                    <a:pt x="652" y="647"/>
                    <a:pt x="656" y="648"/>
                  </a:cubicBezTo>
                  <a:cubicBezTo>
                    <a:pt x="658" y="644"/>
                    <a:pt x="664" y="644"/>
                    <a:pt x="665" y="638"/>
                  </a:cubicBezTo>
                  <a:cubicBezTo>
                    <a:pt x="667" y="647"/>
                    <a:pt x="672" y="656"/>
                    <a:pt x="674" y="665"/>
                  </a:cubicBezTo>
                  <a:cubicBezTo>
                    <a:pt x="676" y="675"/>
                    <a:pt x="671" y="683"/>
                    <a:pt x="671" y="693"/>
                  </a:cubicBezTo>
                  <a:cubicBezTo>
                    <a:pt x="682" y="696"/>
                    <a:pt x="685" y="713"/>
                    <a:pt x="690" y="725"/>
                  </a:cubicBezTo>
                  <a:cubicBezTo>
                    <a:pt x="696" y="727"/>
                    <a:pt x="698" y="733"/>
                    <a:pt x="707" y="732"/>
                  </a:cubicBezTo>
                  <a:cubicBezTo>
                    <a:pt x="700" y="720"/>
                    <a:pt x="704" y="701"/>
                    <a:pt x="686" y="699"/>
                  </a:cubicBezTo>
                  <a:cubicBezTo>
                    <a:pt x="685" y="694"/>
                    <a:pt x="684" y="690"/>
                    <a:pt x="682" y="685"/>
                  </a:cubicBezTo>
                  <a:cubicBezTo>
                    <a:pt x="681" y="683"/>
                    <a:pt x="679" y="687"/>
                    <a:pt x="678" y="685"/>
                  </a:cubicBezTo>
                  <a:cubicBezTo>
                    <a:pt x="678" y="678"/>
                    <a:pt x="680" y="674"/>
                    <a:pt x="683" y="670"/>
                  </a:cubicBezTo>
                  <a:cubicBezTo>
                    <a:pt x="683" y="666"/>
                    <a:pt x="681" y="661"/>
                    <a:pt x="687" y="661"/>
                  </a:cubicBezTo>
                  <a:cubicBezTo>
                    <a:pt x="687" y="663"/>
                    <a:pt x="686" y="664"/>
                    <a:pt x="686" y="666"/>
                  </a:cubicBezTo>
                  <a:cubicBezTo>
                    <a:pt x="693" y="667"/>
                    <a:pt x="699" y="668"/>
                    <a:pt x="699" y="676"/>
                  </a:cubicBezTo>
                  <a:cubicBezTo>
                    <a:pt x="702" y="676"/>
                    <a:pt x="703" y="675"/>
                    <a:pt x="703" y="679"/>
                  </a:cubicBezTo>
                  <a:cubicBezTo>
                    <a:pt x="706" y="679"/>
                    <a:pt x="707" y="679"/>
                    <a:pt x="710" y="681"/>
                  </a:cubicBezTo>
                  <a:cubicBezTo>
                    <a:pt x="711" y="683"/>
                    <a:pt x="710" y="688"/>
                    <a:pt x="709" y="691"/>
                  </a:cubicBezTo>
                  <a:cubicBezTo>
                    <a:pt x="715" y="688"/>
                    <a:pt x="721" y="685"/>
                    <a:pt x="722" y="679"/>
                  </a:cubicBezTo>
                  <a:cubicBezTo>
                    <a:pt x="724" y="679"/>
                    <a:pt x="724" y="680"/>
                    <a:pt x="726" y="680"/>
                  </a:cubicBezTo>
                  <a:cubicBezTo>
                    <a:pt x="728" y="676"/>
                    <a:pt x="733" y="676"/>
                    <a:pt x="736" y="672"/>
                  </a:cubicBezTo>
                  <a:cubicBezTo>
                    <a:pt x="735" y="668"/>
                    <a:pt x="736" y="666"/>
                    <a:pt x="737" y="663"/>
                  </a:cubicBezTo>
                  <a:cubicBezTo>
                    <a:pt x="736" y="645"/>
                    <a:pt x="721" y="641"/>
                    <a:pt x="715" y="627"/>
                  </a:cubicBezTo>
                  <a:cubicBezTo>
                    <a:pt x="720" y="619"/>
                    <a:pt x="729" y="609"/>
                    <a:pt x="738" y="613"/>
                  </a:cubicBezTo>
                  <a:cubicBezTo>
                    <a:pt x="737" y="616"/>
                    <a:pt x="737" y="621"/>
                    <a:pt x="742" y="620"/>
                  </a:cubicBezTo>
                  <a:cubicBezTo>
                    <a:pt x="744" y="618"/>
                    <a:pt x="740" y="616"/>
                    <a:pt x="742" y="614"/>
                  </a:cubicBezTo>
                  <a:cubicBezTo>
                    <a:pt x="749" y="612"/>
                    <a:pt x="759" y="613"/>
                    <a:pt x="761" y="605"/>
                  </a:cubicBezTo>
                  <a:cubicBezTo>
                    <a:pt x="771" y="607"/>
                    <a:pt x="782" y="603"/>
                    <a:pt x="787" y="593"/>
                  </a:cubicBezTo>
                  <a:cubicBezTo>
                    <a:pt x="798" y="591"/>
                    <a:pt x="796" y="574"/>
                    <a:pt x="807" y="569"/>
                  </a:cubicBezTo>
                  <a:cubicBezTo>
                    <a:pt x="807" y="563"/>
                    <a:pt x="808" y="562"/>
                    <a:pt x="809" y="558"/>
                  </a:cubicBezTo>
                  <a:cubicBezTo>
                    <a:pt x="806" y="558"/>
                    <a:pt x="805" y="555"/>
                    <a:pt x="803" y="554"/>
                  </a:cubicBezTo>
                  <a:cubicBezTo>
                    <a:pt x="805" y="554"/>
                    <a:pt x="806" y="553"/>
                    <a:pt x="808" y="553"/>
                  </a:cubicBezTo>
                  <a:cubicBezTo>
                    <a:pt x="808" y="548"/>
                    <a:pt x="806" y="548"/>
                    <a:pt x="808" y="545"/>
                  </a:cubicBezTo>
                  <a:cubicBezTo>
                    <a:pt x="802" y="539"/>
                    <a:pt x="800" y="529"/>
                    <a:pt x="793" y="523"/>
                  </a:cubicBezTo>
                  <a:cubicBezTo>
                    <a:pt x="795" y="520"/>
                    <a:pt x="798" y="519"/>
                    <a:pt x="799" y="515"/>
                  </a:cubicBezTo>
                  <a:cubicBezTo>
                    <a:pt x="799" y="516"/>
                    <a:pt x="799" y="517"/>
                    <a:pt x="801" y="516"/>
                  </a:cubicBezTo>
                  <a:cubicBezTo>
                    <a:pt x="802" y="511"/>
                    <a:pt x="807" y="509"/>
                    <a:pt x="812" y="511"/>
                  </a:cubicBezTo>
                  <a:cubicBezTo>
                    <a:pt x="812" y="508"/>
                    <a:pt x="813" y="508"/>
                    <a:pt x="813" y="506"/>
                  </a:cubicBezTo>
                  <a:cubicBezTo>
                    <a:pt x="807" y="507"/>
                    <a:pt x="805" y="504"/>
                    <a:pt x="802" y="502"/>
                  </a:cubicBezTo>
                  <a:cubicBezTo>
                    <a:pt x="798" y="504"/>
                    <a:pt x="797" y="508"/>
                    <a:pt x="793" y="507"/>
                  </a:cubicBezTo>
                  <a:cubicBezTo>
                    <a:pt x="790" y="505"/>
                    <a:pt x="794" y="503"/>
                    <a:pt x="792" y="501"/>
                  </a:cubicBezTo>
                  <a:cubicBezTo>
                    <a:pt x="787" y="501"/>
                    <a:pt x="782" y="497"/>
                    <a:pt x="786" y="493"/>
                  </a:cubicBezTo>
                  <a:cubicBezTo>
                    <a:pt x="794" y="496"/>
                    <a:pt x="799" y="483"/>
                    <a:pt x="806" y="480"/>
                  </a:cubicBezTo>
                  <a:cubicBezTo>
                    <a:pt x="808" y="481"/>
                    <a:pt x="810" y="482"/>
                    <a:pt x="811" y="483"/>
                  </a:cubicBezTo>
                  <a:cubicBezTo>
                    <a:pt x="805" y="487"/>
                    <a:pt x="804" y="493"/>
                    <a:pt x="806" y="497"/>
                  </a:cubicBezTo>
                  <a:cubicBezTo>
                    <a:pt x="810" y="491"/>
                    <a:pt x="822" y="485"/>
                    <a:pt x="829" y="492"/>
                  </a:cubicBezTo>
                  <a:cubicBezTo>
                    <a:pt x="829" y="497"/>
                    <a:pt x="827" y="496"/>
                    <a:pt x="826" y="501"/>
                  </a:cubicBezTo>
                  <a:cubicBezTo>
                    <a:pt x="826" y="503"/>
                    <a:pt x="829" y="504"/>
                    <a:pt x="830" y="506"/>
                  </a:cubicBezTo>
                  <a:cubicBezTo>
                    <a:pt x="831" y="505"/>
                    <a:pt x="830" y="503"/>
                    <a:pt x="832" y="503"/>
                  </a:cubicBezTo>
                  <a:cubicBezTo>
                    <a:pt x="833" y="507"/>
                    <a:pt x="837" y="503"/>
                    <a:pt x="838" y="509"/>
                  </a:cubicBezTo>
                  <a:cubicBezTo>
                    <a:pt x="835" y="508"/>
                    <a:pt x="834" y="508"/>
                    <a:pt x="833" y="511"/>
                  </a:cubicBezTo>
                  <a:cubicBezTo>
                    <a:pt x="840" y="514"/>
                    <a:pt x="831" y="523"/>
                    <a:pt x="836" y="529"/>
                  </a:cubicBezTo>
                  <a:cubicBezTo>
                    <a:pt x="841" y="522"/>
                    <a:pt x="853" y="527"/>
                    <a:pt x="854" y="516"/>
                  </a:cubicBezTo>
                  <a:cubicBezTo>
                    <a:pt x="851" y="515"/>
                    <a:pt x="854" y="509"/>
                    <a:pt x="853" y="507"/>
                  </a:cubicBezTo>
                  <a:cubicBezTo>
                    <a:pt x="850" y="501"/>
                    <a:pt x="845" y="497"/>
                    <a:pt x="842" y="491"/>
                  </a:cubicBezTo>
                  <a:cubicBezTo>
                    <a:pt x="845" y="484"/>
                    <a:pt x="857" y="485"/>
                    <a:pt x="855" y="473"/>
                  </a:cubicBezTo>
                  <a:cubicBezTo>
                    <a:pt x="860" y="470"/>
                    <a:pt x="863" y="464"/>
                    <a:pt x="869" y="463"/>
                  </a:cubicBezTo>
                  <a:cubicBezTo>
                    <a:pt x="871" y="464"/>
                    <a:pt x="872" y="466"/>
                    <a:pt x="874" y="467"/>
                  </a:cubicBezTo>
                  <a:cubicBezTo>
                    <a:pt x="895" y="457"/>
                    <a:pt x="902" y="434"/>
                    <a:pt x="916" y="417"/>
                  </a:cubicBezTo>
                  <a:cubicBezTo>
                    <a:pt x="919" y="405"/>
                    <a:pt x="916" y="393"/>
                    <a:pt x="923" y="385"/>
                  </a:cubicBezTo>
                  <a:cubicBezTo>
                    <a:pt x="932" y="403"/>
                    <a:pt x="919" y="425"/>
                    <a:pt x="926" y="441"/>
                  </a:cubicBezTo>
                  <a:cubicBezTo>
                    <a:pt x="928" y="438"/>
                    <a:pt x="928" y="435"/>
                    <a:pt x="930" y="433"/>
                  </a:cubicBezTo>
                  <a:cubicBezTo>
                    <a:pt x="933" y="434"/>
                    <a:pt x="932" y="439"/>
                    <a:pt x="934" y="441"/>
                  </a:cubicBezTo>
                  <a:cubicBezTo>
                    <a:pt x="939" y="431"/>
                    <a:pt x="924" y="421"/>
                    <a:pt x="934" y="411"/>
                  </a:cubicBezTo>
                  <a:cubicBezTo>
                    <a:pt x="937" y="411"/>
                    <a:pt x="939" y="416"/>
                    <a:pt x="942" y="414"/>
                  </a:cubicBezTo>
                  <a:cubicBezTo>
                    <a:pt x="934" y="402"/>
                    <a:pt x="934" y="385"/>
                    <a:pt x="931" y="370"/>
                  </a:cubicBezTo>
                  <a:cubicBezTo>
                    <a:pt x="928" y="371"/>
                    <a:pt x="927" y="373"/>
                    <a:pt x="924" y="373"/>
                  </a:cubicBezTo>
                  <a:cubicBezTo>
                    <a:pt x="924" y="376"/>
                    <a:pt x="925" y="381"/>
                    <a:pt x="922" y="383"/>
                  </a:cubicBezTo>
                  <a:cubicBezTo>
                    <a:pt x="921" y="380"/>
                    <a:pt x="921" y="378"/>
                    <a:pt x="922" y="375"/>
                  </a:cubicBezTo>
                  <a:cubicBezTo>
                    <a:pt x="916" y="371"/>
                    <a:pt x="916" y="362"/>
                    <a:pt x="905" y="364"/>
                  </a:cubicBezTo>
                  <a:cubicBezTo>
                    <a:pt x="905" y="368"/>
                    <a:pt x="904" y="371"/>
                    <a:pt x="899" y="371"/>
                  </a:cubicBezTo>
                  <a:cubicBezTo>
                    <a:pt x="899" y="369"/>
                    <a:pt x="901" y="369"/>
                    <a:pt x="901" y="367"/>
                  </a:cubicBezTo>
                  <a:cubicBezTo>
                    <a:pt x="897" y="365"/>
                    <a:pt x="897" y="368"/>
                    <a:pt x="894" y="368"/>
                  </a:cubicBezTo>
                  <a:cubicBezTo>
                    <a:pt x="895" y="366"/>
                    <a:pt x="895" y="364"/>
                    <a:pt x="895" y="361"/>
                  </a:cubicBezTo>
                  <a:cubicBezTo>
                    <a:pt x="893" y="359"/>
                    <a:pt x="888" y="362"/>
                    <a:pt x="886" y="360"/>
                  </a:cubicBezTo>
                  <a:cubicBezTo>
                    <a:pt x="893" y="350"/>
                    <a:pt x="907" y="339"/>
                    <a:pt x="916" y="328"/>
                  </a:cubicBezTo>
                  <a:cubicBezTo>
                    <a:pt x="921" y="323"/>
                    <a:pt x="924" y="313"/>
                    <a:pt x="932" y="311"/>
                  </a:cubicBezTo>
                  <a:cubicBezTo>
                    <a:pt x="937" y="310"/>
                    <a:pt x="941" y="312"/>
                    <a:pt x="946" y="310"/>
                  </a:cubicBezTo>
                  <a:cubicBezTo>
                    <a:pt x="946" y="313"/>
                    <a:pt x="946" y="315"/>
                    <a:pt x="949" y="314"/>
                  </a:cubicBezTo>
                  <a:cubicBezTo>
                    <a:pt x="951" y="309"/>
                    <a:pt x="960" y="312"/>
                    <a:pt x="965" y="313"/>
                  </a:cubicBezTo>
                  <a:cubicBezTo>
                    <a:pt x="966" y="311"/>
                    <a:pt x="965" y="307"/>
                    <a:pt x="969" y="307"/>
                  </a:cubicBezTo>
                  <a:cubicBezTo>
                    <a:pt x="972" y="312"/>
                    <a:pt x="981" y="306"/>
                    <a:pt x="981" y="312"/>
                  </a:cubicBezTo>
                  <a:cubicBezTo>
                    <a:pt x="980" y="313"/>
                    <a:pt x="977" y="313"/>
                    <a:pt x="978" y="317"/>
                  </a:cubicBezTo>
                  <a:cubicBezTo>
                    <a:pt x="986" y="316"/>
                    <a:pt x="994" y="317"/>
                    <a:pt x="1002" y="311"/>
                  </a:cubicBezTo>
                  <a:cubicBezTo>
                    <a:pt x="1002" y="308"/>
                    <a:pt x="998" y="309"/>
                    <a:pt x="996" y="308"/>
                  </a:cubicBezTo>
                  <a:cubicBezTo>
                    <a:pt x="998" y="297"/>
                    <a:pt x="1010" y="296"/>
                    <a:pt x="1011" y="285"/>
                  </a:cubicBezTo>
                  <a:cubicBezTo>
                    <a:pt x="1015" y="283"/>
                    <a:pt x="1025" y="279"/>
                    <a:pt x="1027" y="285"/>
                  </a:cubicBezTo>
                  <a:cubicBezTo>
                    <a:pt x="1027" y="284"/>
                    <a:pt x="1030" y="281"/>
                    <a:pt x="1030" y="283"/>
                  </a:cubicBezTo>
                  <a:cubicBezTo>
                    <a:pt x="1027" y="289"/>
                    <a:pt x="1030" y="293"/>
                    <a:pt x="1032" y="296"/>
                  </a:cubicBezTo>
                  <a:cubicBezTo>
                    <a:pt x="1037" y="293"/>
                    <a:pt x="1039" y="285"/>
                    <a:pt x="1047" y="284"/>
                  </a:cubicBezTo>
                  <a:cubicBezTo>
                    <a:pt x="1046" y="276"/>
                    <a:pt x="1052" y="269"/>
                    <a:pt x="1059" y="274"/>
                  </a:cubicBezTo>
                  <a:cubicBezTo>
                    <a:pt x="1057" y="274"/>
                    <a:pt x="1055" y="274"/>
                    <a:pt x="1054" y="275"/>
                  </a:cubicBezTo>
                  <a:cubicBezTo>
                    <a:pt x="1051" y="281"/>
                    <a:pt x="1051" y="287"/>
                    <a:pt x="1050" y="293"/>
                  </a:cubicBezTo>
                  <a:cubicBezTo>
                    <a:pt x="1038" y="296"/>
                    <a:pt x="1037" y="309"/>
                    <a:pt x="1027" y="313"/>
                  </a:cubicBezTo>
                  <a:cubicBezTo>
                    <a:pt x="1026" y="322"/>
                    <a:pt x="1018" y="325"/>
                    <a:pt x="1011" y="328"/>
                  </a:cubicBezTo>
                  <a:cubicBezTo>
                    <a:pt x="1014" y="335"/>
                    <a:pt x="1006" y="337"/>
                    <a:pt x="1004" y="342"/>
                  </a:cubicBezTo>
                  <a:cubicBezTo>
                    <a:pt x="998" y="359"/>
                    <a:pt x="1009" y="382"/>
                    <a:pt x="1012" y="396"/>
                  </a:cubicBezTo>
                  <a:cubicBezTo>
                    <a:pt x="1016" y="390"/>
                    <a:pt x="1023" y="388"/>
                    <a:pt x="1023" y="378"/>
                  </a:cubicBezTo>
                  <a:cubicBezTo>
                    <a:pt x="1025" y="376"/>
                    <a:pt x="1028" y="375"/>
                    <a:pt x="1031" y="374"/>
                  </a:cubicBezTo>
                  <a:cubicBezTo>
                    <a:pt x="1025" y="359"/>
                    <a:pt x="1042" y="367"/>
                    <a:pt x="1043" y="357"/>
                  </a:cubicBezTo>
                  <a:cubicBezTo>
                    <a:pt x="1041" y="356"/>
                    <a:pt x="1040" y="354"/>
                    <a:pt x="1040" y="352"/>
                  </a:cubicBezTo>
                  <a:cubicBezTo>
                    <a:pt x="1042" y="351"/>
                    <a:pt x="1042" y="348"/>
                    <a:pt x="1043" y="345"/>
                  </a:cubicBezTo>
                  <a:cubicBezTo>
                    <a:pt x="1045" y="345"/>
                    <a:pt x="1045" y="348"/>
                    <a:pt x="1048" y="347"/>
                  </a:cubicBezTo>
                  <a:cubicBezTo>
                    <a:pt x="1053" y="343"/>
                    <a:pt x="1047" y="339"/>
                    <a:pt x="1046" y="335"/>
                  </a:cubicBezTo>
                  <a:cubicBezTo>
                    <a:pt x="1047" y="332"/>
                    <a:pt x="1050" y="332"/>
                    <a:pt x="1050" y="328"/>
                  </a:cubicBezTo>
                  <a:cubicBezTo>
                    <a:pt x="1049" y="326"/>
                    <a:pt x="1044" y="328"/>
                    <a:pt x="1042" y="326"/>
                  </a:cubicBezTo>
                  <a:cubicBezTo>
                    <a:pt x="1042" y="316"/>
                    <a:pt x="1052" y="315"/>
                    <a:pt x="1050" y="305"/>
                  </a:cubicBezTo>
                  <a:cubicBezTo>
                    <a:pt x="1052" y="305"/>
                    <a:pt x="1054" y="304"/>
                    <a:pt x="1055" y="302"/>
                  </a:cubicBezTo>
                  <a:cubicBezTo>
                    <a:pt x="1055" y="304"/>
                    <a:pt x="1055" y="306"/>
                    <a:pt x="1058" y="306"/>
                  </a:cubicBezTo>
                  <a:cubicBezTo>
                    <a:pt x="1060" y="304"/>
                    <a:pt x="1062" y="298"/>
                    <a:pt x="1065" y="300"/>
                  </a:cubicBezTo>
                  <a:cubicBezTo>
                    <a:pt x="1064" y="302"/>
                    <a:pt x="1064" y="304"/>
                    <a:pt x="1065" y="306"/>
                  </a:cubicBezTo>
                  <a:cubicBezTo>
                    <a:pt x="1071" y="303"/>
                    <a:pt x="1073" y="296"/>
                    <a:pt x="1084" y="297"/>
                  </a:cubicBezTo>
                  <a:cubicBezTo>
                    <a:pt x="1085" y="299"/>
                    <a:pt x="1086" y="303"/>
                    <a:pt x="1088" y="305"/>
                  </a:cubicBezTo>
                  <a:cubicBezTo>
                    <a:pt x="1100" y="292"/>
                    <a:pt x="1111" y="281"/>
                    <a:pt x="1128" y="274"/>
                  </a:cubicBezTo>
                  <a:cubicBezTo>
                    <a:pt x="1128" y="272"/>
                    <a:pt x="1128" y="271"/>
                    <a:pt x="1130" y="270"/>
                  </a:cubicBezTo>
                  <a:cubicBezTo>
                    <a:pt x="1130" y="274"/>
                    <a:pt x="1136" y="274"/>
                    <a:pt x="1140" y="275"/>
                  </a:cubicBezTo>
                  <a:cubicBezTo>
                    <a:pt x="1149" y="267"/>
                    <a:pt x="1135" y="260"/>
                    <a:pt x="1137" y="249"/>
                  </a:cubicBezTo>
                  <a:cubicBezTo>
                    <a:pt x="1135" y="248"/>
                    <a:pt x="1134" y="250"/>
                    <a:pt x="1132" y="250"/>
                  </a:cubicBezTo>
                  <a:cubicBezTo>
                    <a:pt x="1131" y="249"/>
                    <a:pt x="1130" y="247"/>
                    <a:pt x="1130" y="244"/>
                  </a:cubicBezTo>
                  <a:cubicBezTo>
                    <a:pt x="1128" y="242"/>
                    <a:pt x="1126" y="246"/>
                    <a:pt x="1125" y="244"/>
                  </a:cubicBezTo>
                  <a:cubicBezTo>
                    <a:pt x="1126" y="243"/>
                    <a:pt x="1128" y="243"/>
                    <a:pt x="1130" y="242"/>
                  </a:cubicBezTo>
                  <a:cubicBezTo>
                    <a:pt x="1131" y="245"/>
                    <a:pt x="1133" y="246"/>
                    <a:pt x="1136" y="246"/>
                  </a:cubicBezTo>
                  <a:cubicBezTo>
                    <a:pt x="1147" y="244"/>
                    <a:pt x="1150" y="234"/>
                    <a:pt x="1154" y="225"/>
                  </a:cubicBezTo>
                  <a:cubicBezTo>
                    <a:pt x="1157" y="226"/>
                    <a:pt x="1155" y="230"/>
                    <a:pt x="1157" y="232"/>
                  </a:cubicBezTo>
                  <a:cubicBezTo>
                    <a:pt x="1162" y="233"/>
                    <a:pt x="1164" y="231"/>
                    <a:pt x="1168" y="230"/>
                  </a:cubicBezTo>
                  <a:cubicBezTo>
                    <a:pt x="1172" y="232"/>
                    <a:pt x="1170" y="242"/>
                    <a:pt x="1176" y="243"/>
                  </a:cubicBezTo>
                  <a:cubicBezTo>
                    <a:pt x="1178" y="240"/>
                    <a:pt x="1183" y="249"/>
                    <a:pt x="1188" y="247"/>
                  </a:cubicBezTo>
                  <a:cubicBezTo>
                    <a:pt x="1189" y="244"/>
                    <a:pt x="1188" y="242"/>
                    <a:pt x="1187" y="239"/>
                  </a:cubicBezTo>
                  <a:cubicBezTo>
                    <a:pt x="1189" y="239"/>
                    <a:pt x="1191" y="238"/>
                    <a:pt x="1192" y="238"/>
                  </a:cubicBezTo>
                  <a:cubicBezTo>
                    <a:pt x="1193" y="234"/>
                    <a:pt x="1191" y="233"/>
                    <a:pt x="1191" y="230"/>
                  </a:cubicBezTo>
                  <a:cubicBezTo>
                    <a:pt x="1193" y="232"/>
                    <a:pt x="1195" y="230"/>
                    <a:pt x="1199" y="231"/>
                  </a:cubicBezTo>
                  <a:cubicBezTo>
                    <a:pt x="1201" y="229"/>
                    <a:pt x="1201" y="222"/>
                    <a:pt x="1206" y="225"/>
                  </a:cubicBezTo>
                  <a:cubicBezTo>
                    <a:pt x="1204" y="218"/>
                    <a:pt x="1197" y="215"/>
                    <a:pt x="1193" y="210"/>
                  </a:cubicBezTo>
                  <a:close/>
                  <a:moveTo>
                    <a:pt x="261" y="482"/>
                  </a:moveTo>
                  <a:cubicBezTo>
                    <a:pt x="263" y="479"/>
                    <a:pt x="266" y="480"/>
                    <a:pt x="269" y="480"/>
                  </a:cubicBezTo>
                  <a:cubicBezTo>
                    <a:pt x="267" y="485"/>
                    <a:pt x="265" y="480"/>
                    <a:pt x="261" y="482"/>
                  </a:cubicBezTo>
                  <a:close/>
                  <a:moveTo>
                    <a:pt x="312" y="472"/>
                  </a:moveTo>
                  <a:cubicBezTo>
                    <a:pt x="309" y="471"/>
                    <a:pt x="310" y="473"/>
                    <a:pt x="307" y="473"/>
                  </a:cubicBezTo>
                  <a:cubicBezTo>
                    <a:pt x="308" y="470"/>
                    <a:pt x="306" y="471"/>
                    <a:pt x="306" y="469"/>
                  </a:cubicBezTo>
                  <a:cubicBezTo>
                    <a:pt x="299" y="472"/>
                    <a:pt x="288" y="469"/>
                    <a:pt x="282" y="477"/>
                  </a:cubicBezTo>
                  <a:cubicBezTo>
                    <a:pt x="277" y="476"/>
                    <a:pt x="272" y="476"/>
                    <a:pt x="267" y="474"/>
                  </a:cubicBezTo>
                  <a:cubicBezTo>
                    <a:pt x="265" y="472"/>
                    <a:pt x="265" y="468"/>
                    <a:pt x="263" y="467"/>
                  </a:cubicBezTo>
                  <a:cubicBezTo>
                    <a:pt x="266" y="467"/>
                    <a:pt x="263" y="459"/>
                    <a:pt x="268" y="460"/>
                  </a:cubicBezTo>
                  <a:cubicBezTo>
                    <a:pt x="268" y="455"/>
                    <a:pt x="270" y="453"/>
                    <a:pt x="271" y="449"/>
                  </a:cubicBezTo>
                  <a:cubicBezTo>
                    <a:pt x="273" y="449"/>
                    <a:pt x="274" y="449"/>
                    <a:pt x="275" y="448"/>
                  </a:cubicBezTo>
                  <a:cubicBezTo>
                    <a:pt x="275" y="446"/>
                    <a:pt x="277" y="443"/>
                    <a:pt x="274" y="442"/>
                  </a:cubicBezTo>
                  <a:cubicBezTo>
                    <a:pt x="279" y="439"/>
                    <a:pt x="280" y="433"/>
                    <a:pt x="287" y="432"/>
                  </a:cubicBezTo>
                  <a:cubicBezTo>
                    <a:pt x="285" y="437"/>
                    <a:pt x="291" y="438"/>
                    <a:pt x="296" y="438"/>
                  </a:cubicBezTo>
                  <a:cubicBezTo>
                    <a:pt x="295" y="440"/>
                    <a:pt x="289" y="441"/>
                    <a:pt x="291" y="444"/>
                  </a:cubicBezTo>
                  <a:cubicBezTo>
                    <a:pt x="291" y="444"/>
                    <a:pt x="295" y="444"/>
                    <a:pt x="296" y="446"/>
                  </a:cubicBezTo>
                  <a:cubicBezTo>
                    <a:pt x="296" y="447"/>
                    <a:pt x="296" y="449"/>
                    <a:pt x="295" y="450"/>
                  </a:cubicBezTo>
                  <a:cubicBezTo>
                    <a:pt x="299" y="455"/>
                    <a:pt x="301" y="448"/>
                    <a:pt x="308" y="446"/>
                  </a:cubicBezTo>
                  <a:cubicBezTo>
                    <a:pt x="310" y="446"/>
                    <a:pt x="315" y="448"/>
                    <a:pt x="314" y="443"/>
                  </a:cubicBezTo>
                  <a:cubicBezTo>
                    <a:pt x="313" y="441"/>
                    <a:pt x="308" y="443"/>
                    <a:pt x="306" y="443"/>
                  </a:cubicBezTo>
                  <a:cubicBezTo>
                    <a:pt x="306" y="439"/>
                    <a:pt x="302" y="439"/>
                    <a:pt x="300" y="437"/>
                  </a:cubicBezTo>
                  <a:cubicBezTo>
                    <a:pt x="310" y="435"/>
                    <a:pt x="317" y="430"/>
                    <a:pt x="327" y="429"/>
                  </a:cubicBezTo>
                  <a:cubicBezTo>
                    <a:pt x="325" y="431"/>
                    <a:pt x="322" y="432"/>
                    <a:pt x="319" y="432"/>
                  </a:cubicBezTo>
                  <a:cubicBezTo>
                    <a:pt x="320" y="434"/>
                    <a:pt x="322" y="435"/>
                    <a:pt x="324" y="436"/>
                  </a:cubicBezTo>
                  <a:cubicBezTo>
                    <a:pt x="321" y="437"/>
                    <a:pt x="321" y="440"/>
                    <a:pt x="320" y="442"/>
                  </a:cubicBezTo>
                  <a:cubicBezTo>
                    <a:pt x="318" y="442"/>
                    <a:pt x="317" y="443"/>
                    <a:pt x="315" y="444"/>
                  </a:cubicBezTo>
                  <a:cubicBezTo>
                    <a:pt x="322" y="452"/>
                    <a:pt x="331" y="459"/>
                    <a:pt x="342" y="464"/>
                  </a:cubicBezTo>
                  <a:cubicBezTo>
                    <a:pt x="351" y="482"/>
                    <a:pt x="317" y="481"/>
                    <a:pt x="312" y="472"/>
                  </a:cubicBezTo>
                  <a:close/>
                  <a:moveTo>
                    <a:pt x="415" y="510"/>
                  </a:moveTo>
                  <a:cubicBezTo>
                    <a:pt x="406" y="511"/>
                    <a:pt x="396" y="515"/>
                    <a:pt x="393" y="506"/>
                  </a:cubicBezTo>
                  <a:cubicBezTo>
                    <a:pt x="390" y="506"/>
                    <a:pt x="388" y="505"/>
                    <a:pt x="386" y="505"/>
                  </a:cubicBezTo>
                  <a:cubicBezTo>
                    <a:pt x="385" y="495"/>
                    <a:pt x="391" y="494"/>
                    <a:pt x="390" y="485"/>
                  </a:cubicBezTo>
                  <a:cubicBezTo>
                    <a:pt x="393" y="484"/>
                    <a:pt x="393" y="484"/>
                    <a:pt x="395" y="485"/>
                  </a:cubicBezTo>
                  <a:cubicBezTo>
                    <a:pt x="396" y="482"/>
                    <a:pt x="394" y="480"/>
                    <a:pt x="390" y="481"/>
                  </a:cubicBezTo>
                  <a:cubicBezTo>
                    <a:pt x="389" y="472"/>
                    <a:pt x="377" y="468"/>
                    <a:pt x="380" y="456"/>
                  </a:cubicBezTo>
                  <a:cubicBezTo>
                    <a:pt x="378" y="455"/>
                    <a:pt x="378" y="451"/>
                    <a:pt x="375" y="450"/>
                  </a:cubicBezTo>
                  <a:cubicBezTo>
                    <a:pt x="381" y="441"/>
                    <a:pt x="389" y="436"/>
                    <a:pt x="400" y="430"/>
                  </a:cubicBezTo>
                  <a:cubicBezTo>
                    <a:pt x="404" y="433"/>
                    <a:pt x="406" y="431"/>
                    <a:pt x="410" y="432"/>
                  </a:cubicBezTo>
                  <a:cubicBezTo>
                    <a:pt x="410" y="435"/>
                    <a:pt x="410" y="439"/>
                    <a:pt x="408" y="442"/>
                  </a:cubicBezTo>
                  <a:cubicBezTo>
                    <a:pt x="401" y="441"/>
                    <a:pt x="397" y="445"/>
                    <a:pt x="399" y="449"/>
                  </a:cubicBezTo>
                  <a:cubicBezTo>
                    <a:pt x="398" y="449"/>
                    <a:pt x="392" y="448"/>
                    <a:pt x="394" y="453"/>
                  </a:cubicBezTo>
                  <a:cubicBezTo>
                    <a:pt x="401" y="456"/>
                    <a:pt x="397" y="465"/>
                    <a:pt x="408" y="465"/>
                  </a:cubicBezTo>
                  <a:cubicBezTo>
                    <a:pt x="404" y="473"/>
                    <a:pt x="410" y="476"/>
                    <a:pt x="408" y="485"/>
                  </a:cubicBezTo>
                  <a:cubicBezTo>
                    <a:pt x="408" y="487"/>
                    <a:pt x="409" y="488"/>
                    <a:pt x="412" y="488"/>
                  </a:cubicBezTo>
                  <a:cubicBezTo>
                    <a:pt x="412" y="490"/>
                    <a:pt x="409" y="489"/>
                    <a:pt x="410" y="492"/>
                  </a:cubicBezTo>
                  <a:cubicBezTo>
                    <a:pt x="412" y="492"/>
                    <a:pt x="413" y="492"/>
                    <a:pt x="415" y="494"/>
                  </a:cubicBezTo>
                  <a:cubicBezTo>
                    <a:pt x="413" y="499"/>
                    <a:pt x="415" y="505"/>
                    <a:pt x="415" y="510"/>
                  </a:cubicBezTo>
                  <a:close/>
                  <a:moveTo>
                    <a:pt x="417" y="480"/>
                  </a:moveTo>
                  <a:cubicBezTo>
                    <a:pt x="414" y="480"/>
                    <a:pt x="414" y="478"/>
                    <a:pt x="411" y="479"/>
                  </a:cubicBezTo>
                  <a:cubicBezTo>
                    <a:pt x="410" y="477"/>
                    <a:pt x="410" y="475"/>
                    <a:pt x="410" y="472"/>
                  </a:cubicBezTo>
                  <a:cubicBezTo>
                    <a:pt x="411" y="471"/>
                    <a:pt x="413" y="471"/>
                    <a:pt x="415" y="471"/>
                  </a:cubicBezTo>
                  <a:cubicBezTo>
                    <a:pt x="415" y="475"/>
                    <a:pt x="417" y="476"/>
                    <a:pt x="419" y="478"/>
                  </a:cubicBezTo>
                  <a:cubicBezTo>
                    <a:pt x="419" y="480"/>
                    <a:pt x="415" y="477"/>
                    <a:pt x="417" y="48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5" name="Freeform 191"/>
            <p:cNvSpPr>
              <a:spLocks/>
            </p:cNvSpPr>
            <p:nvPr/>
          </p:nvSpPr>
          <p:spPr bwMode="auto">
            <a:xfrm>
              <a:off x="7192180" y="3713436"/>
              <a:ext cx="264473" cy="273942"/>
            </a:xfrm>
            <a:custGeom>
              <a:avLst/>
              <a:gdLst>
                <a:gd name="T0" fmla="*/ 36 w 77"/>
                <a:gd name="T1" fmla="*/ 45 h 77"/>
                <a:gd name="T2" fmla="*/ 21 w 77"/>
                <a:gd name="T3" fmla="*/ 44 h 77"/>
                <a:gd name="T4" fmla="*/ 9 w 77"/>
                <a:gd name="T5" fmla="*/ 53 h 77"/>
                <a:gd name="T6" fmla="*/ 1 w 77"/>
                <a:gd name="T7" fmla="*/ 60 h 77"/>
                <a:gd name="T8" fmla="*/ 4 w 77"/>
                <a:gd name="T9" fmla="*/ 65 h 77"/>
                <a:gd name="T10" fmla="*/ 6 w 77"/>
                <a:gd name="T11" fmla="*/ 64 h 77"/>
                <a:gd name="T12" fmla="*/ 7 w 77"/>
                <a:gd name="T13" fmla="*/ 65 h 77"/>
                <a:gd name="T14" fmla="*/ 5 w 77"/>
                <a:gd name="T15" fmla="*/ 75 h 77"/>
                <a:gd name="T16" fmla="*/ 10 w 77"/>
                <a:gd name="T17" fmla="*/ 77 h 77"/>
                <a:gd name="T18" fmla="*/ 15 w 77"/>
                <a:gd name="T19" fmla="*/ 59 h 77"/>
                <a:gd name="T20" fmla="*/ 10 w 77"/>
                <a:gd name="T21" fmla="*/ 56 h 77"/>
                <a:gd name="T22" fmla="*/ 35 w 77"/>
                <a:gd name="T23" fmla="*/ 51 h 77"/>
                <a:gd name="T24" fmla="*/ 39 w 77"/>
                <a:gd name="T25" fmla="*/ 60 h 77"/>
                <a:gd name="T26" fmla="*/ 45 w 77"/>
                <a:gd name="T27" fmla="*/ 54 h 77"/>
                <a:gd name="T28" fmla="*/ 43 w 77"/>
                <a:gd name="T29" fmla="*/ 50 h 77"/>
                <a:gd name="T30" fmla="*/ 46 w 77"/>
                <a:gd name="T31" fmla="*/ 52 h 77"/>
                <a:gd name="T32" fmla="*/ 55 w 77"/>
                <a:gd name="T33" fmla="*/ 48 h 77"/>
                <a:gd name="T34" fmla="*/ 55 w 77"/>
                <a:gd name="T35" fmla="*/ 51 h 77"/>
                <a:gd name="T36" fmla="*/ 62 w 77"/>
                <a:gd name="T37" fmla="*/ 45 h 77"/>
                <a:gd name="T38" fmla="*/ 61 w 77"/>
                <a:gd name="T39" fmla="*/ 50 h 77"/>
                <a:gd name="T40" fmla="*/ 68 w 77"/>
                <a:gd name="T41" fmla="*/ 43 h 77"/>
                <a:gd name="T42" fmla="*/ 68 w 77"/>
                <a:gd name="T43" fmla="*/ 27 h 77"/>
                <a:gd name="T44" fmla="*/ 72 w 77"/>
                <a:gd name="T45" fmla="*/ 1 h 77"/>
                <a:gd name="T46" fmla="*/ 67 w 77"/>
                <a:gd name="T47" fmla="*/ 1 h 77"/>
                <a:gd name="T48" fmla="*/ 69 w 77"/>
                <a:gd name="T49" fmla="*/ 4 h 77"/>
                <a:gd name="T50" fmla="*/ 64 w 77"/>
                <a:gd name="T51" fmla="*/ 3 h 77"/>
                <a:gd name="T52" fmla="*/ 63 w 77"/>
                <a:gd name="T53" fmla="*/ 16 h 77"/>
                <a:gd name="T54" fmla="*/ 46 w 77"/>
                <a:gd name="T55" fmla="*/ 35 h 77"/>
                <a:gd name="T56" fmla="*/ 48 w 77"/>
                <a:gd name="T57" fmla="*/ 30 h 77"/>
                <a:gd name="T58" fmla="*/ 43 w 77"/>
                <a:gd name="T59" fmla="*/ 32 h 77"/>
                <a:gd name="T60" fmla="*/ 38 w 77"/>
                <a:gd name="T61" fmla="*/ 44 h 77"/>
                <a:gd name="T62" fmla="*/ 36 w 77"/>
                <a:gd name="T63" fmla="*/ 4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7" h="77">
                  <a:moveTo>
                    <a:pt x="36" y="45"/>
                  </a:moveTo>
                  <a:cubicBezTo>
                    <a:pt x="34" y="41"/>
                    <a:pt x="25" y="47"/>
                    <a:pt x="21" y="44"/>
                  </a:cubicBezTo>
                  <a:cubicBezTo>
                    <a:pt x="17" y="46"/>
                    <a:pt x="16" y="53"/>
                    <a:pt x="9" y="53"/>
                  </a:cubicBezTo>
                  <a:cubicBezTo>
                    <a:pt x="9" y="58"/>
                    <a:pt x="5" y="59"/>
                    <a:pt x="1" y="60"/>
                  </a:cubicBezTo>
                  <a:cubicBezTo>
                    <a:pt x="0" y="63"/>
                    <a:pt x="3" y="64"/>
                    <a:pt x="4" y="65"/>
                  </a:cubicBezTo>
                  <a:cubicBezTo>
                    <a:pt x="4" y="65"/>
                    <a:pt x="6" y="62"/>
                    <a:pt x="6" y="64"/>
                  </a:cubicBezTo>
                  <a:cubicBezTo>
                    <a:pt x="6" y="64"/>
                    <a:pt x="7" y="65"/>
                    <a:pt x="7" y="65"/>
                  </a:cubicBezTo>
                  <a:cubicBezTo>
                    <a:pt x="4" y="68"/>
                    <a:pt x="6" y="71"/>
                    <a:pt x="5" y="75"/>
                  </a:cubicBezTo>
                  <a:cubicBezTo>
                    <a:pt x="7" y="76"/>
                    <a:pt x="7" y="76"/>
                    <a:pt x="10" y="77"/>
                  </a:cubicBezTo>
                  <a:cubicBezTo>
                    <a:pt x="13" y="72"/>
                    <a:pt x="16" y="64"/>
                    <a:pt x="15" y="59"/>
                  </a:cubicBezTo>
                  <a:cubicBezTo>
                    <a:pt x="13" y="58"/>
                    <a:pt x="11" y="59"/>
                    <a:pt x="10" y="56"/>
                  </a:cubicBezTo>
                  <a:cubicBezTo>
                    <a:pt x="18" y="56"/>
                    <a:pt x="23" y="51"/>
                    <a:pt x="35" y="51"/>
                  </a:cubicBezTo>
                  <a:cubicBezTo>
                    <a:pt x="31" y="54"/>
                    <a:pt x="34" y="60"/>
                    <a:pt x="39" y="60"/>
                  </a:cubicBezTo>
                  <a:cubicBezTo>
                    <a:pt x="39" y="56"/>
                    <a:pt x="42" y="54"/>
                    <a:pt x="45" y="54"/>
                  </a:cubicBezTo>
                  <a:cubicBezTo>
                    <a:pt x="46" y="51"/>
                    <a:pt x="43" y="52"/>
                    <a:pt x="43" y="50"/>
                  </a:cubicBezTo>
                  <a:cubicBezTo>
                    <a:pt x="44" y="49"/>
                    <a:pt x="46" y="50"/>
                    <a:pt x="46" y="52"/>
                  </a:cubicBezTo>
                  <a:cubicBezTo>
                    <a:pt x="50" y="52"/>
                    <a:pt x="54" y="51"/>
                    <a:pt x="55" y="48"/>
                  </a:cubicBezTo>
                  <a:cubicBezTo>
                    <a:pt x="55" y="50"/>
                    <a:pt x="54" y="50"/>
                    <a:pt x="55" y="51"/>
                  </a:cubicBezTo>
                  <a:cubicBezTo>
                    <a:pt x="58" y="50"/>
                    <a:pt x="58" y="46"/>
                    <a:pt x="62" y="45"/>
                  </a:cubicBezTo>
                  <a:cubicBezTo>
                    <a:pt x="62" y="47"/>
                    <a:pt x="60" y="47"/>
                    <a:pt x="61" y="50"/>
                  </a:cubicBezTo>
                  <a:cubicBezTo>
                    <a:pt x="66" y="50"/>
                    <a:pt x="65" y="44"/>
                    <a:pt x="68" y="43"/>
                  </a:cubicBezTo>
                  <a:cubicBezTo>
                    <a:pt x="63" y="38"/>
                    <a:pt x="72" y="33"/>
                    <a:pt x="68" y="27"/>
                  </a:cubicBezTo>
                  <a:cubicBezTo>
                    <a:pt x="77" y="20"/>
                    <a:pt x="74" y="12"/>
                    <a:pt x="72" y="1"/>
                  </a:cubicBezTo>
                  <a:cubicBezTo>
                    <a:pt x="69" y="0"/>
                    <a:pt x="69" y="0"/>
                    <a:pt x="67" y="1"/>
                  </a:cubicBezTo>
                  <a:cubicBezTo>
                    <a:pt x="66" y="4"/>
                    <a:pt x="69" y="3"/>
                    <a:pt x="69" y="4"/>
                  </a:cubicBezTo>
                  <a:cubicBezTo>
                    <a:pt x="66" y="6"/>
                    <a:pt x="67" y="4"/>
                    <a:pt x="64" y="3"/>
                  </a:cubicBezTo>
                  <a:cubicBezTo>
                    <a:pt x="61" y="6"/>
                    <a:pt x="61" y="12"/>
                    <a:pt x="63" y="16"/>
                  </a:cubicBezTo>
                  <a:cubicBezTo>
                    <a:pt x="60" y="25"/>
                    <a:pt x="53" y="34"/>
                    <a:pt x="46" y="35"/>
                  </a:cubicBezTo>
                  <a:cubicBezTo>
                    <a:pt x="46" y="32"/>
                    <a:pt x="49" y="33"/>
                    <a:pt x="48" y="30"/>
                  </a:cubicBezTo>
                  <a:cubicBezTo>
                    <a:pt x="45" y="29"/>
                    <a:pt x="44" y="31"/>
                    <a:pt x="43" y="32"/>
                  </a:cubicBezTo>
                  <a:cubicBezTo>
                    <a:pt x="44" y="38"/>
                    <a:pt x="38" y="39"/>
                    <a:pt x="38" y="44"/>
                  </a:cubicBezTo>
                  <a:cubicBezTo>
                    <a:pt x="37" y="44"/>
                    <a:pt x="37" y="45"/>
                    <a:pt x="36" y="45"/>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nvGrpSpPr>
          <p:cNvPr id="96" name="Group 95"/>
          <p:cNvGrpSpPr>
            <a:grpSpLocks noChangeAspect="1"/>
          </p:cNvGrpSpPr>
          <p:nvPr/>
        </p:nvGrpSpPr>
        <p:grpSpPr>
          <a:xfrm>
            <a:off x="3376706" y="2705163"/>
            <a:ext cx="5441465" cy="3165522"/>
            <a:chOff x="1055342" y="453552"/>
            <a:chExt cx="4497078" cy="2616134"/>
          </a:xfrm>
          <a:effectLst>
            <a:reflection blurRad="6350" stA="50000" endA="300" endPos="33000" dir="5400000" sy="-100000" algn="bl" rotWithShape="0"/>
          </a:effectLst>
        </p:grpSpPr>
        <p:grpSp>
          <p:nvGrpSpPr>
            <p:cNvPr id="97" name="Group 96"/>
            <p:cNvGrpSpPr/>
            <p:nvPr/>
          </p:nvGrpSpPr>
          <p:grpSpPr>
            <a:xfrm>
              <a:off x="1408962" y="453552"/>
              <a:ext cx="3789838" cy="2455380"/>
              <a:chOff x="4389513" y="454854"/>
              <a:chExt cx="3789838" cy="2455380"/>
            </a:xfrm>
          </p:grpSpPr>
          <p:sp>
            <p:nvSpPr>
              <p:cNvPr id="102" name="Rectangle: Rounded Corners 101"/>
              <p:cNvSpPr/>
              <p:nvPr/>
            </p:nvSpPr>
            <p:spPr>
              <a:xfrm>
                <a:off x="4389513" y="454854"/>
                <a:ext cx="3789838" cy="2455380"/>
              </a:xfrm>
              <a:prstGeom prst="roundRect">
                <a:avLst>
                  <a:gd name="adj" fmla="val 6493"/>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3" name="Rectangle 102"/>
              <p:cNvSpPr/>
              <p:nvPr/>
            </p:nvSpPr>
            <p:spPr>
              <a:xfrm>
                <a:off x="4515984" y="639042"/>
                <a:ext cx="3536895" cy="2087005"/>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sp>
          <p:nvSpPr>
            <p:cNvPr id="98" name="Rectangle 97"/>
            <p:cNvSpPr/>
            <p:nvPr/>
          </p:nvSpPr>
          <p:spPr>
            <a:xfrm>
              <a:off x="1055342" y="2904652"/>
              <a:ext cx="4497078" cy="861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9" name="Oval 98"/>
            <p:cNvSpPr>
              <a:spLocks noChangeAspect="1"/>
            </p:cNvSpPr>
            <p:nvPr/>
          </p:nvSpPr>
          <p:spPr>
            <a:xfrm>
              <a:off x="3275059" y="505184"/>
              <a:ext cx="57643" cy="5764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0" name="Freeform: Shape 99"/>
            <p:cNvSpPr/>
            <p:nvPr/>
          </p:nvSpPr>
          <p:spPr>
            <a:xfrm>
              <a:off x="1055628" y="2990759"/>
              <a:ext cx="4496506" cy="78927"/>
            </a:xfrm>
            <a:custGeom>
              <a:avLst/>
              <a:gdLst>
                <a:gd name="connsiteX0" fmla="*/ 0 w 4496506"/>
                <a:gd name="connsiteY0" fmla="*/ 0 h 220830"/>
                <a:gd name="connsiteX1" fmla="*/ 4496506 w 4496506"/>
                <a:gd name="connsiteY1" fmla="*/ 0 h 220830"/>
                <a:gd name="connsiteX2" fmla="*/ 4451111 w 4496506"/>
                <a:gd name="connsiteY2" fmla="*/ 88068 h 220830"/>
                <a:gd name="connsiteX3" fmla="*/ 4320092 w 4496506"/>
                <a:gd name="connsiteY3" fmla="*/ 170614 h 220830"/>
                <a:gd name="connsiteX4" fmla="*/ 4180724 w 4496506"/>
                <a:gd name="connsiteY4" fmla="*/ 220830 h 220830"/>
                <a:gd name="connsiteX5" fmla="*/ 315782 w 4496506"/>
                <a:gd name="connsiteY5" fmla="*/ 220830 h 220830"/>
                <a:gd name="connsiteX6" fmla="*/ 176415 w 4496506"/>
                <a:gd name="connsiteY6" fmla="*/ 170614 h 220830"/>
                <a:gd name="connsiteX7" fmla="*/ 45396 w 4496506"/>
                <a:gd name="connsiteY7" fmla="*/ 88068 h 22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96506" h="220830">
                  <a:moveTo>
                    <a:pt x="0" y="0"/>
                  </a:moveTo>
                  <a:lnTo>
                    <a:pt x="4496506" y="0"/>
                  </a:lnTo>
                  <a:lnTo>
                    <a:pt x="4451111" y="88068"/>
                  </a:lnTo>
                  <a:cubicBezTo>
                    <a:pt x="4421158" y="116695"/>
                    <a:pt x="4376983" y="144309"/>
                    <a:pt x="4320092" y="170614"/>
                  </a:cubicBezTo>
                  <a:lnTo>
                    <a:pt x="4180724" y="220830"/>
                  </a:lnTo>
                  <a:lnTo>
                    <a:pt x="315782" y="220830"/>
                  </a:lnTo>
                  <a:lnTo>
                    <a:pt x="176415" y="170614"/>
                  </a:lnTo>
                  <a:cubicBezTo>
                    <a:pt x="119523" y="144309"/>
                    <a:pt x="75348" y="116695"/>
                    <a:pt x="45396" y="88068"/>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1" name="Freeform: Shape 100"/>
            <p:cNvSpPr/>
            <p:nvPr/>
          </p:nvSpPr>
          <p:spPr>
            <a:xfrm>
              <a:off x="2859077" y="2910234"/>
              <a:ext cx="889609" cy="64885"/>
            </a:xfrm>
            <a:custGeom>
              <a:avLst/>
              <a:gdLst>
                <a:gd name="connsiteX0" fmla="*/ 0 w 4496506"/>
                <a:gd name="connsiteY0" fmla="*/ 0 h 220830"/>
                <a:gd name="connsiteX1" fmla="*/ 4496506 w 4496506"/>
                <a:gd name="connsiteY1" fmla="*/ 0 h 220830"/>
                <a:gd name="connsiteX2" fmla="*/ 4451111 w 4496506"/>
                <a:gd name="connsiteY2" fmla="*/ 88068 h 220830"/>
                <a:gd name="connsiteX3" fmla="*/ 4320092 w 4496506"/>
                <a:gd name="connsiteY3" fmla="*/ 170614 h 220830"/>
                <a:gd name="connsiteX4" fmla="*/ 4180724 w 4496506"/>
                <a:gd name="connsiteY4" fmla="*/ 220830 h 220830"/>
                <a:gd name="connsiteX5" fmla="*/ 315782 w 4496506"/>
                <a:gd name="connsiteY5" fmla="*/ 220830 h 220830"/>
                <a:gd name="connsiteX6" fmla="*/ 176415 w 4496506"/>
                <a:gd name="connsiteY6" fmla="*/ 170614 h 220830"/>
                <a:gd name="connsiteX7" fmla="*/ 45396 w 4496506"/>
                <a:gd name="connsiteY7" fmla="*/ 88068 h 22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96506" h="220830">
                  <a:moveTo>
                    <a:pt x="0" y="0"/>
                  </a:moveTo>
                  <a:lnTo>
                    <a:pt x="4496506" y="0"/>
                  </a:lnTo>
                  <a:lnTo>
                    <a:pt x="4451111" y="88068"/>
                  </a:lnTo>
                  <a:cubicBezTo>
                    <a:pt x="4421158" y="116695"/>
                    <a:pt x="4376983" y="144309"/>
                    <a:pt x="4320092" y="170614"/>
                  </a:cubicBezTo>
                  <a:lnTo>
                    <a:pt x="4180724" y="220830"/>
                  </a:lnTo>
                  <a:lnTo>
                    <a:pt x="315782" y="220830"/>
                  </a:lnTo>
                  <a:lnTo>
                    <a:pt x="176415" y="170614"/>
                  </a:lnTo>
                  <a:cubicBezTo>
                    <a:pt x="119523" y="144309"/>
                    <a:pt x="75348" y="116695"/>
                    <a:pt x="45396" y="88068"/>
                  </a:cubicBez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sp>
        <p:nvSpPr>
          <p:cNvPr id="105" name="Oval 104"/>
          <p:cNvSpPr>
            <a:spLocks noChangeAspect="1"/>
          </p:cNvSpPr>
          <p:nvPr/>
        </p:nvSpPr>
        <p:spPr>
          <a:xfrm rot="18859635">
            <a:off x="7008819" y="1219474"/>
            <a:ext cx="1106424" cy="1106424"/>
          </a:xfrm>
          <a:prstGeom prst="ellipse">
            <a:avLst/>
          </a:prstGeom>
          <a:solidFill>
            <a:schemeClr val="bg1">
              <a:lumMod val="9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tx1"/>
              </a:solidFill>
              <a:effectLst/>
              <a:uLnTx/>
              <a:uFillTx/>
            </a:endParaRPr>
          </a:p>
        </p:txBody>
      </p:sp>
      <p:sp>
        <p:nvSpPr>
          <p:cNvPr id="108" name="Oval 107"/>
          <p:cNvSpPr>
            <a:spLocks noChangeAspect="1"/>
          </p:cNvSpPr>
          <p:nvPr/>
        </p:nvSpPr>
        <p:spPr>
          <a:xfrm rot="18859635">
            <a:off x="3871833" y="1217226"/>
            <a:ext cx="1106424" cy="1106424"/>
          </a:xfrm>
          <a:prstGeom prst="ellipse">
            <a:avLst/>
          </a:prstGeom>
          <a:solidFill>
            <a:schemeClr val="bg1">
              <a:lumMod val="9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tx1"/>
              </a:solidFill>
              <a:effectLst/>
              <a:uLnTx/>
              <a:uFillTx/>
            </a:endParaRPr>
          </a:p>
        </p:txBody>
      </p:sp>
      <p:sp>
        <p:nvSpPr>
          <p:cNvPr id="111" name="Oval 110"/>
          <p:cNvSpPr>
            <a:spLocks noChangeAspect="1"/>
          </p:cNvSpPr>
          <p:nvPr/>
        </p:nvSpPr>
        <p:spPr>
          <a:xfrm rot="18859635">
            <a:off x="1186015" y="2910675"/>
            <a:ext cx="1106424" cy="1106424"/>
          </a:xfrm>
          <a:prstGeom prst="ellipse">
            <a:avLst/>
          </a:prstGeom>
          <a:solidFill>
            <a:schemeClr val="bg1">
              <a:lumMod val="9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tx1"/>
              </a:solidFill>
              <a:effectLst/>
              <a:uLnTx/>
              <a:uFillTx/>
            </a:endParaRPr>
          </a:p>
        </p:txBody>
      </p:sp>
      <p:sp>
        <p:nvSpPr>
          <p:cNvPr id="114" name="Oval 113"/>
          <p:cNvSpPr>
            <a:spLocks noChangeAspect="1"/>
          </p:cNvSpPr>
          <p:nvPr/>
        </p:nvSpPr>
        <p:spPr>
          <a:xfrm rot="18859635">
            <a:off x="9927148" y="2863860"/>
            <a:ext cx="1106424" cy="1106424"/>
          </a:xfrm>
          <a:prstGeom prst="ellipse">
            <a:avLst/>
          </a:prstGeom>
          <a:solidFill>
            <a:schemeClr val="bg1">
              <a:lumMod val="9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tx1"/>
              </a:solidFill>
              <a:effectLst/>
              <a:uLnTx/>
              <a:uFillTx/>
            </a:endParaRPr>
          </a:p>
        </p:txBody>
      </p:sp>
      <p:graphicFrame>
        <p:nvGraphicFramePr>
          <p:cNvPr id="116" name="Chart 115"/>
          <p:cNvGraphicFramePr/>
          <p:nvPr/>
        </p:nvGraphicFramePr>
        <p:xfrm>
          <a:off x="3878010" y="2987695"/>
          <a:ext cx="4429365" cy="2522266"/>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p:cNvSpPr>
            <a:spLocks noGrp="1"/>
          </p:cNvSpPr>
          <p:nvPr>
            <p:ph type="title"/>
          </p:nvPr>
        </p:nvSpPr>
        <p:spPr>
          <a:xfrm>
            <a:off x="-17270" y="17565"/>
            <a:ext cx="10515600" cy="692287"/>
          </a:xfrm>
        </p:spPr>
        <p:txBody>
          <a:bodyPr>
            <a:normAutofit fontScale="90000"/>
          </a:bodyPr>
          <a:lstStyle/>
          <a:p>
            <a:r>
              <a:rPr lang="en-IN" dirty="0">
                <a:latin typeface="Gill Sans MT" panose="020B0502020104020203" pitchFamily="34" charset="0"/>
              </a:rPr>
              <a:t>Business Objectives</a:t>
            </a:r>
            <a:endParaRPr lang="en-US" dirty="0"/>
          </a:p>
        </p:txBody>
      </p:sp>
      <p:sp>
        <p:nvSpPr>
          <p:cNvPr id="127" name="TextBox 126"/>
          <p:cNvSpPr txBox="1"/>
          <p:nvPr/>
        </p:nvSpPr>
        <p:spPr>
          <a:xfrm>
            <a:off x="441965" y="4178921"/>
            <a:ext cx="2748009" cy="830997"/>
          </a:xfrm>
          <a:prstGeom prst="rect">
            <a:avLst/>
          </a:prstGeom>
          <a:noFill/>
        </p:spPr>
        <p:txBody>
          <a:bodyPr wrap="square" rtlCol="0">
            <a:spAutoFit/>
          </a:bodyPr>
          <a:lstStyle/>
          <a:p>
            <a:pPr lvl="0" algn="ctr">
              <a:defRPr/>
            </a:pPr>
            <a:r>
              <a:rPr lang="en-GB" sz="1600" kern="0" dirty="0">
                <a:solidFill>
                  <a:schemeClr val="tx1">
                    <a:lumMod val="50000"/>
                    <a:lumOff val="50000"/>
                  </a:schemeClr>
                </a:solidFill>
                <a:latin typeface="Gill Sans MT" panose="020B0502020104020203" pitchFamily="34" charset="0"/>
              </a:rPr>
              <a:t>Understand factors behind loan defaults via EDA for financial sustainability.</a:t>
            </a:r>
            <a:endParaRPr kumimoji="0" lang="en-US" sz="1600" b="0" i="0" u="none" strike="noStrike" kern="0" cap="none" spc="0" normalizeH="0" baseline="0" noProof="0" dirty="0">
              <a:ln>
                <a:noFill/>
              </a:ln>
              <a:solidFill>
                <a:schemeClr val="tx1">
                  <a:lumMod val="50000"/>
                  <a:lumOff val="50000"/>
                </a:schemeClr>
              </a:solidFill>
              <a:effectLst/>
              <a:uLnTx/>
              <a:uFillTx/>
              <a:latin typeface="Gill Sans MT" panose="020B0502020104020203" pitchFamily="34" charset="0"/>
            </a:endParaRPr>
          </a:p>
        </p:txBody>
      </p:sp>
      <p:sp>
        <p:nvSpPr>
          <p:cNvPr id="128" name="TextBox 127"/>
          <p:cNvSpPr txBox="1"/>
          <p:nvPr/>
        </p:nvSpPr>
        <p:spPr>
          <a:xfrm>
            <a:off x="9106355" y="4052191"/>
            <a:ext cx="2748009" cy="830997"/>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schemeClr val="tx1">
                    <a:lumMod val="50000"/>
                    <a:lumOff val="50000"/>
                  </a:schemeClr>
                </a:solidFill>
                <a:effectLst/>
                <a:uLnTx/>
                <a:uFillTx/>
                <a:latin typeface="Gill Sans MT" panose="020B0502020104020203" pitchFamily="34" charset="0"/>
              </a:rPr>
              <a:t>Offer easy, low-interest loans through an online platform as a market leader.</a:t>
            </a:r>
            <a:endParaRPr kumimoji="0" lang="en-US" sz="1600" b="0" i="0" u="none" strike="noStrike" kern="0" cap="none" spc="0" normalizeH="0" baseline="0" noProof="0" dirty="0">
              <a:ln>
                <a:noFill/>
              </a:ln>
              <a:solidFill>
                <a:schemeClr val="tx1">
                  <a:lumMod val="50000"/>
                  <a:lumOff val="50000"/>
                </a:schemeClr>
              </a:solidFill>
              <a:effectLst/>
              <a:uLnTx/>
              <a:uFillTx/>
              <a:latin typeface="Gill Sans MT" panose="020B0502020104020203" pitchFamily="34" charset="0"/>
            </a:endParaRPr>
          </a:p>
        </p:txBody>
      </p:sp>
      <p:sp>
        <p:nvSpPr>
          <p:cNvPr id="131" name="TextBox 130"/>
          <p:cNvSpPr txBox="1"/>
          <p:nvPr/>
        </p:nvSpPr>
        <p:spPr>
          <a:xfrm>
            <a:off x="1183265" y="1418272"/>
            <a:ext cx="2748009" cy="830997"/>
          </a:xfrm>
          <a:prstGeom prst="rect">
            <a:avLst/>
          </a:prstGeom>
          <a:noFill/>
        </p:spPr>
        <p:txBody>
          <a:bodyPr wrap="square" rtlCol="0">
            <a:spAutoFit/>
          </a:bodyPr>
          <a:lstStyle/>
          <a:p>
            <a:pPr lvl="0" algn="ctr">
              <a:defRPr/>
            </a:pPr>
            <a:r>
              <a:rPr lang="en-GB" sz="1600" kern="0" dirty="0">
                <a:solidFill>
                  <a:schemeClr val="tx1">
                    <a:lumMod val="50000"/>
                    <a:lumOff val="50000"/>
                  </a:schemeClr>
                </a:solidFill>
                <a:latin typeface="Gill Sans MT" panose="020B0502020104020203" pitchFamily="34" charset="0"/>
              </a:rPr>
              <a:t>Reduce credit loss by identifying and cutting loans to high-risk applicants.</a:t>
            </a:r>
            <a:endParaRPr kumimoji="0" lang="en-US" sz="1600" b="0" i="0" u="none" strike="noStrike" kern="0" cap="none" spc="0" normalizeH="0" baseline="0" noProof="0" dirty="0">
              <a:ln>
                <a:noFill/>
              </a:ln>
              <a:solidFill>
                <a:schemeClr val="tx1">
                  <a:lumMod val="50000"/>
                  <a:lumOff val="50000"/>
                </a:schemeClr>
              </a:solidFill>
              <a:effectLst/>
              <a:uLnTx/>
              <a:uFillTx/>
              <a:latin typeface="Gill Sans MT" panose="020B0502020104020203" pitchFamily="34" charset="0"/>
            </a:endParaRPr>
          </a:p>
        </p:txBody>
      </p:sp>
      <p:sp>
        <p:nvSpPr>
          <p:cNvPr id="132" name="TextBox 131"/>
          <p:cNvSpPr txBox="1"/>
          <p:nvPr/>
        </p:nvSpPr>
        <p:spPr>
          <a:xfrm>
            <a:off x="8062960" y="1397057"/>
            <a:ext cx="3189342" cy="830997"/>
          </a:xfrm>
          <a:prstGeom prst="rect">
            <a:avLst/>
          </a:prstGeom>
          <a:noFill/>
        </p:spPr>
        <p:txBody>
          <a:bodyPr wrap="square" rtlCol="0">
            <a:spAutoFit/>
          </a:bodyPr>
          <a:lstStyle/>
          <a:p>
            <a:pPr lvl="0" algn="ctr">
              <a:defRPr/>
            </a:pPr>
            <a:r>
              <a:rPr lang="en-GB" sz="1600" kern="0" dirty="0">
                <a:solidFill>
                  <a:schemeClr val="tx1">
                    <a:lumMod val="50000"/>
                    <a:lumOff val="50000"/>
                  </a:schemeClr>
                </a:solidFill>
                <a:latin typeface="Gill Sans MT" panose="020B0502020104020203" pitchFamily="34" charset="0"/>
              </a:rPr>
              <a:t>Enhance portfolio management and risk assessment with key driver variables.</a:t>
            </a:r>
            <a:endParaRPr lang="en-IN" sz="1600" kern="0" dirty="0">
              <a:solidFill>
                <a:schemeClr val="tx1">
                  <a:lumMod val="50000"/>
                  <a:lumOff val="50000"/>
                </a:schemeClr>
              </a:solidFill>
              <a:latin typeface="Gill Sans MT" panose="020B0502020104020203" pitchFamily="34" charset="0"/>
            </a:endParaRPr>
          </a:p>
        </p:txBody>
      </p:sp>
      <p:pic>
        <p:nvPicPr>
          <p:cNvPr id="126" name="Picture 125">
            <a:extLst>
              <a:ext uri="{FF2B5EF4-FFF2-40B4-BE49-F238E27FC236}">
                <a16:creationId xmlns:a16="http://schemas.microsoft.com/office/drawing/2014/main" id="{5041DB62-CF14-48FA-8A8F-2CC3633193F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73897" y="1352882"/>
            <a:ext cx="812698" cy="812698"/>
          </a:xfrm>
          <a:prstGeom prst="rect">
            <a:avLst/>
          </a:prstGeom>
        </p:spPr>
      </p:pic>
      <p:pic>
        <p:nvPicPr>
          <p:cNvPr id="130" name="Picture 129">
            <a:extLst>
              <a:ext uri="{FF2B5EF4-FFF2-40B4-BE49-F238E27FC236}">
                <a16:creationId xmlns:a16="http://schemas.microsoft.com/office/drawing/2014/main" id="{BC6DA10D-9B97-4335-9F00-428603E3FF4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021568" y="1364089"/>
            <a:ext cx="812698" cy="812698"/>
          </a:xfrm>
          <a:prstGeom prst="rect">
            <a:avLst/>
          </a:prstGeom>
        </p:spPr>
      </p:pic>
      <p:pic>
        <p:nvPicPr>
          <p:cNvPr id="134" name="Picture 133">
            <a:extLst>
              <a:ext uri="{FF2B5EF4-FFF2-40B4-BE49-F238E27FC236}">
                <a16:creationId xmlns:a16="http://schemas.microsoft.com/office/drawing/2014/main" id="{2810292A-2A43-4112-B1FA-16B36957317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364328" y="3056034"/>
            <a:ext cx="812698" cy="812698"/>
          </a:xfrm>
          <a:prstGeom prst="rect">
            <a:avLst/>
          </a:prstGeom>
        </p:spPr>
      </p:pic>
      <p:pic>
        <p:nvPicPr>
          <p:cNvPr id="146" name="Picture 145">
            <a:extLst>
              <a:ext uri="{FF2B5EF4-FFF2-40B4-BE49-F238E27FC236}">
                <a16:creationId xmlns:a16="http://schemas.microsoft.com/office/drawing/2014/main" id="{438BD400-38A5-43C1-A804-1BB22158D96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096226" y="3019573"/>
            <a:ext cx="812698" cy="812698"/>
          </a:xfrm>
          <a:prstGeom prst="rect">
            <a:avLst/>
          </a:prstGeom>
        </p:spPr>
      </p:pic>
    </p:spTree>
    <p:custDataLst>
      <p:tags r:id="rId1"/>
    </p:custDataLst>
    <p:extLst>
      <p:ext uri="{BB962C8B-B14F-4D97-AF65-F5344CB8AC3E}">
        <p14:creationId xmlns:p14="http://schemas.microsoft.com/office/powerpoint/2010/main" val="13186854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104" y="81392"/>
            <a:ext cx="2935038" cy="595505"/>
          </a:xfrm>
        </p:spPr>
        <p:txBody>
          <a:bodyPr vert="horz" lIns="91440" tIns="45720" rIns="91440" bIns="45720" rtlCol="0" anchor="ctr">
            <a:normAutofit fontScale="90000"/>
          </a:bodyPr>
          <a:lstStyle/>
          <a:p>
            <a:r>
              <a:rPr lang="en-US" dirty="0">
                <a:latin typeface="Gill Sans MT" panose="020B0502020104020203" pitchFamily="34" charset="0"/>
              </a:rPr>
              <a:t>Data Source</a:t>
            </a:r>
          </a:p>
        </p:txBody>
      </p:sp>
      <p:grpSp>
        <p:nvGrpSpPr>
          <p:cNvPr id="413" name="Group 412"/>
          <p:cNvGrpSpPr/>
          <p:nvPr/>
        </p:nvGrpSpPr>
        <p:grpSpPr>
          <a:xfrm>
            <a:off x="3895647" y="3301444"/>
            <a:ext cx="2087667" cy="893037"/>
            <a:chOff x="1951493" y="1143863"/>
            <a:chExt cx="2087667" cy="659715"/>
          </a:xfrm>
        </p:grpSpPr>
        <p:sp>
          <p:nvSpPr>
            <p:cNvPr id="414" name="TextBox 413"/>
            <p:cNvSpPr txBox="1"/>
            <p:nvPr/>
          </p:nvSpPr>
          <p:spPr>
            <a:xfrm>
              <a:off x="2488617" y="1143863"/>
              <a:ext cx="1013419" cy="250101"/>
            </a:xfrm>
            <a:prstGeom prst="rect">
              <a:avLst/>
            </a:prstGeom>
            <a:noFill/>
          </p:spPr>
          <p:txBody>
            <a:bodyPr wrap="none" rtlCol="0">
              <a:spAutoFit/>
            </a:bodyPr>
            <a:lstStyle/>
            <a:p>
              <a:pPr lvl="0" algn="ctr">
                <a:defRPr/>
              </a:pPr>
              <a:r>
                <a:rPr lang="en-US" sz="1600" b="1" kern="0" dirty="0">
                  <a:solidFill>
                    <a:srgbClr val="92D050"/>
                  </a:solidFill>
                  <a:latin typeface="Gill Sans MT" panose="020B0502020104020203" pitchFamily="34" charset="0"/>
                </a:rPr>
                <a:t>Loan.csv</a:t>
              </a:r>
              <a:endParaRPr kumimoji="0" lang="en-US" sz="1600" b="1" i="0" u="none" strike="noStrike" kern="0" cap="none" spc="0" normalizeH="0" baseline="0" noProof="0" dirty="0">
                <a:ln>
                  <a:noFill/>
                </a:ln>
                <a:solidFill>
                  <a:srgbClr val="92D050"/>
                </a:solidFill>
                <a:effectLst/>
                <a:uLnTx/>
                <a:uFillTx/>
                <a:latin typeface="Gill Sans MT" panose="020B0502020104020203" pitchFamily="34" charset="0"/>
              </a:endParaRPr>
            </a:p>
          </p:txBody>
        </p:sp>
        <p:sp>
          <p:nvSpPr>
            <p:cNvPr id="415" name="TextBox 414"/>
            <p:cNvSpPr txBox="1"/>
            <p:nvPr/>
          </p:nvSpPr>
          <p:spPr>
            <a:xfrm>
              <a:off x="1951493" y="1360218"/>
              <a:ext cx="2087667" cy="443360"/>
            </a:xfrm>
            <a:prstGeom prst="rect">
              <a:avLst/>
            </a:prstGeom>
            <a:noFill/>
          </p:spPr>
          <p:txBody>
            <a:bodyPr wrap="square" rtlCol="0">
              <a:spAutoFit/>
            </a:bodyPr>
            <a:lstStyle/>
            <a:p>
              <a:pPr lvl="0" algn="just">
                <a:defRPr/>
              </a:pPr>
              <a:r>
                <a:rPr lang="en-GB" sz="1100" kern="0" dirty="0">
                  <a:solidFill>
                    <a:sysClr val="windowText" lastClr="000000"/>
                  </a:solidFill>
                  <a:latin typeface="Gill Sans MT" panose="020B0502020104020203" pitchFamily="34" charset="0"/>
                </a:rPr>
                <a:t>It contains the complete loan data for all loans issued through the time period 2007 t0 2011.</a:t>
              </a:r>
              <a:endParaRPr kumimoji="0" lang="en-US" sz="1100" b="0" i="0" u="none" strike="noStrike" kern="0" cap="none" spc="0" normalizeH="0" baseline="0" noProof="0" dirty="0">
                <a:ln>
                  <a:noFill/>
                </a:ln>
                <a:solidFill>
                  <a:sysClr val="windowText" lastClr="000000"/>
                </a:solidFill>
                <a:effectLst/>
                <a:uLnTx/>
                <a:uFillTx/>
                <a:latin typeface="Gill Sans MT" panose="020B0502020104020203" pitchFamily="34" charset="0"/>
              </a:endParaRPr>
            </a:p>
          </p:txBody>
        </p:sp>
      </p:grpSp>
      <p:grpSp>
        <p:nvGrpSpPr>
          <p:cNvPr id="128" name="Group 127">
            <a:extLst>
              <a:ext uri="{FF2B5EF4-FFF2-40B4-BE49-F238E27FC236}">
                <a16:creationId xmlns:a16="http://schemas.microsoft.com/office/drawing/2014/main" id="{C072A49E-E834-4265-98F5-7837D6E9268F}"/>
              </a:ext>
            </a:extLst>
          </p:cNvPr>
          <p:cNvGrpSpPr/>
          <p:nvPr/>
        </p:nvGrpSpPr>
        <p:grpSpPr>
          <a:xfrm>
            <a:off x="6545776" y="3301444"/>
            <a:ext cx="2146743" cy="785680"/>
            <a:chOff x="1921957" y="1143863"/>
            <a:chExt cx="2146743" cy="785680"/>
          </a:xfrm>
        </p:grpSpPr>
        <p:sp>
          <p:nvSpPr>
            <p:cNvPr id="129" name="TextBox 128">
              <a:extLst>
                <a:ext uri="{FF2B5EF4-FFF2-40B4-BE49-F238E27FC236}">
                  <a16:creationId xmlns:a16="http://schemas.microsoft.com/office/drawing/2014/main" id="{18BB0A63-386D-4512-94C2-C6A96DD502C2}"/>
                </a:ext>
              </a:extLst>
            </p:cNvPr>
            <p:cNvSpPr txBox="1"/>
            <p:nvPr/>
          </p:nvSpPr>
          <p:spPr>
            <a:xfrm>
              <a:off x="1921957" y="1143863"/>
              <a:ext cx="2146743" cy="338554"/>
            </a:xfrm>
            <a:prstGeom prst="rect">
              <a:avLst/>
            </a:prstGeom>
            <a:noFill/>
          </p:spPr>
          <p:txBody>
            <a:bodyPr wrap="none" rtlCol="0">
              <a:spAutoFit/>
            </a:bodyPr>
            <a:lstStyle/>
            <a:p>
              <a:pPr lvl="0" algn="ctr">
                <a:defRPr/>
              </a:pPr>
              <a:r>
                <a:rPr lang="en-US" sz="1600" b="1" kern="0" dirty="0">
                  <a:solidFill>
                    <a:srgbClr val="00B0F0"/>
                  </a:solidFill>
                  <a:latin typeface="Gill Sans MT" panose="020B0502020104020203" pitchFamily="34" charset="0"/>
                </a:rPr>
                <a:t>Data Dictionary.xlsx</a:t>
              </a:r>
              <a:endParaRPr kumimoji="0" lang="en-US" sz="1600" b="1" i="0" u="none" strike="noStrike" kern="0" cap="none" spc="0" normalizeH="0" baseline="0" noProof="0" dirty="0">
                <a:ln>
                  <a:noFill/>
                </a:ln>
                <a:solidFill>
                  <a:srgbClr val="00B0F0"/>
                </a:solidFill>
                <a:effectLst/>
                <a:uLnTx/>
                <a:uFillTx/>
                <a:latin typeface="Gill Sans MT" panose="020B0502020104020203" pitchFamily="34" charset="0"/>
              </a:endParaRPr>
            </a:p>
          </p:txBody>
        </p:sp>
        <p:sp>
          <p:nvSpPr>
            <p:cNvPr id="130" name="TextBox 129">
              <a:extLst>
                <a:ext uri="{FF2B5EF4-FFF2-40B4-BE49-F238E27FC236}">
                  <a16:creationId xmlns:a16="http://schemas.microsoft.com/office/drawing/2014/main" id="{62F0E309-CD34-4670-A3C7-BCB9416E5844}"/>
                </a:ext>
              </a:extLst>
            </p:cNvPr>
            <p:cNvSpPr txBox="1"/>
            <p:nvPr/>
          </p:nvSpPr>
          <p:spPr>
            <a:xfrm>
              <a:off x="1951494" y="1498656"/>
              <a:ext cx="2087667" cy="430887"/>
            </a:xfrm>
            <a:prstGeom prst="rect">
              <a:avLst/>
            </a:prstGeom>
            <a:noFill/>
          </p:spPr>
          <p:txBody>
            <a:bodyPr wrap="square" rtlCol="0">
              <a:spAutoFit/>
            </a:bodyPr>
            <a:lstStyle/>
            <a:p>
              <a:pPr lvl="0" algn="just">
                <a:defRPr/>
              </a:pPr>
              <a:r>
                <a:rPr lang="en-GB" sz="1100" kern="0" dirty="0">
                  <a:solidFill>
                    <a:sysClr val="windowText" lastClr="000000"/>
                  </a:solidFill>
                  <a:latin typeface="Gill Sans MT" panose="020B0502020104020203" pitchFamily="34" charset="0"/>
                </a:rPr>
                <a:t>data dictionary which describes the meaning of these variables</a:t>
              </a:r>
              <a:endParaRPr lang="en-IN" sz="1100" kern="0" dirty="0">
                <a:solidFill>
                  <a:sysClr val="windowText" lastClr="000000"/>
                </a:solidFill>
                <a:latin typeface="Gill Sans MT" panose="020B0502020104020203" pitchFamily="34" charset="0"/>
              </a:endParaRPr>
            </a:p>
          </p:txBody>
        </p:sp>
      </p:grpSp>
      <p:grpSp>
        <p:nvGrpSpPr>
          <p:cNvPr id="9" name="Group 8">
            <a:extLst>
              <a:ext uri="{FF2B5EF4-FFF2-40B4-BE49-F238E27FC236}">
                <a16:creationId xmlns:a16="http://schemas.microsoft.com/office/drawing/2014/main" id="{98CB70CA-26FC-4E57-9BE4-6D5E7B8588A1}"/>
              </a:ext>
            </a:extLst>
          </p:cNvPr>
          <p:cNvGrpSpPr/>
          <p:nvPr/>
        </p:nvGrpSpPr>
        <p:grpSpPr>
          <a:xfrm>
            <a:off x="3918919" y="1139630"/>
            <a:ext cx="2050373" cy="2041126"/>
            <a:chOff x="3003449" y="2341909"/>
            <a:chExt cx="2050373" cy="2041126"/>
          </a:xfrm>
          <a:solidFill>
            <a:srgbClr val="92D050"/>
          </a:solidFill>
        </p:grpSpPr>
        <p:grpSp>
          <p:nvGrpSpPr>
            <p:cNvPr id="16" name="Group 15"/>
            <p:cNvGrpSpPr>
              <a:grpSpLocks noChangeAspect="1"/>
            </p:cNvGrpSpPr>
            <p:nvPr/>
          </p:nvGrpSpPr>
          <p:grpSpPr>
            <a:xfrm>
              <a:off x="3003449" y="2341909"/>
              <a:ext cx="2041126" cy="2041126"/>
              <a:chOff x="601033" y="2855912"/>
              <a:chExt cx="2041126" cy="2041126"/>
            </a:xfrm>
            <a:grpFill/>
          </p:grpSpPr>
          <p:sp>
            <p:nvSpPr>
              <p:cNvPr id="152" name="Circle: Hollow 151"/>
              <p:cNvSpPr>
                <a:spLocks noChangeAspect="1"/>
              </p:cNvSpPr>
              <p:nvPr/>
            </p:nvSpPr>
            <p:spPr>
              <a:xfrm>
                <a:off x="763241" y="3018120"/>
                <a:ext cx="1716710" cy="1716710"/>
              </a:xfrm>
              <a:prstGeom prst="donut">
                <a:avLst>
                  <a:gd name="adj" fmla="val 713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tx1"/>
                  </a:solidFill>
                  <a:effectLst/>
                  <a:uLnTx/>
                  <a:uFillTx/>
                </a:endParaRPr>
              </a:p>
            </p:txBody>
          </p:sp>
          <p:grpSp>
            <p:nvGrpSpPr>
              <p:cNvPr id="153" name="Group 152"/>
              <p:cNvGrpSpPr/>
              <p:nvPr/>
            </p:nvGrpSpPr>
            <p:grpSpPr>
              <a:xfrm>
                <a:off x="1534076" y="2855912"/>
                <a:ext cx="175040" cy="2041126"/>
                <a:chOff x="8229799" y="2768458"/>
                <a:chExt cx="175040" cy="2041126"/>
              </a:xfrm>
              <a:grpFill/>
            </p:grpSpPr>
            <p:sp>
              <p:nvSpPr>
                <p:cNvPr id="169" name="Trapezoid 168"/>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70" name="Trapezoid 169"/>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sp>
            <p:nvSpPr>
              <p:cNvPr id="168" name="Trapezoid 167"/>
              <p:cNvSpPr/>
              <p:nvPr/>
            </p:nvSpPr>
            <p:spPr>
              <a:xfrm rot="16200000">
                <a:off x="600967" y="3789021"/>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nvGrpSpPr>
              <p:cNvPr id="155" name="Group 154"/>
              <p:cNvGrpSpPr/>
              <p:nvPr/>
            </p:nvGrpSpPr>
            <p:grpSpPr>
              <a:xfrm rot="1800000">
                <a:off x="1534076" y="2855912"/>
                <a:ext cx="175040" cy="2041126"/>
                <a:chOff x="8229799" y="2768458"/>
                <a:chExt cx="175040" cy="2041126"/>
              </a:xfrm>
              <a:grpFill/>
            </p:grpSpPr>
            <p:sp>
              <p:nvSpPr>
                <p:cNvPr id="165" name="Trapezoid 164"/>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66" name="Trapezoid 165"/>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nvGrpSpPr>
              <p:cNvPr id="156" name="Group 155"/>
              <p:cNvGrpSpPr/>
              <p:nvPr/>
            </p:nvGrpSpPr>
            <p:grpSpPr>
              <a:xfrm rot="3600000">
                <a:off x="1534076" y="2855912"/>
                <a:ext cx="175040" cy="2041126"/>
                <a:chOff x="8229799" y="2768458"/>
                <a:chExt cx="175040" cy="2041126"/>
              </a:xfrm>
              <a:grpFill/>
            </p:grpSpPr>
            <p:sp>
              <p:nvSpPr>
                <p:cNvPr id="163" name="Trapezoid 162"/>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64" name="Trapezoid 163"/>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nvGrpSpPr>
              <p:cNvPr id="157" name="Group 156"/>
              <p:cNvGrpSpPr/>
              <p:nvPr/>
            </p:nvGrpSpPr>
            <p:grpSpPr>
              <a:xfrm rot="7200000">
                <a:off x="1534076" y="2855912"/>
                <a:ext cx="175040" cy="2041126"/>
                <a:chOff x="8229799" y="2768458"/>
                <a:chExt cx="175040" cy="2041126"/>
              </a:xfrm>
              <a:grpFill/>
            </p:grpSpPr>
            <p:sp>
              <p:nvSpPr>
                <p:cNvPr id="161" name="Trapezoid 160"/>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62" name="Trapezoid 161"/>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nvGrpSpPr>
              <p:cNvPr id="158" name="Group 157"/>
              <p:cNvGrpSpPr/>
              <p:nvPr/>
            </p:nvGrpSpPr>
            <p:grpSpPr>
              <a:xfrm rot="9000000">
                <a:off x="1534076" y="2855912"/>
                <a:ext cx="175040" cy="2041126"/>
                <a:chOff x="8229799" y="2768458"/>
                <a:chExt cx="175040" cy="2041126"/>
              </a:xfrm>
              <a:grpFill/>
            </p:grpSpPr>
            <p:sp>
              <p:nvSpPr>
                <p:cNvPr id="159" name="Trapezoid 158"/>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60" name="Trapezoid 159"/>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sp>
          <p:nvSpPr>
            <p:cNvPr id="78" name="Trapezoid 77">
              <a:extLst>
                <a:ext uri="{FF2B5EF4-FFF2-40B4-BE49-F238E27FC236}">
                  <a16:creationId xmlns:a16="http://schemas.microsoft.com/office/drawing/2014/main" id="{E1E4205B-86EA-4E0C-AA39-634A52B7C82E}"/>
                </a:ext>
              </a:extLst>
            </p:cNvPr>
            <p:cNvSpPr/>
            <p:nvPr/>
          </p:nvSpPr>
          <p:spPr>
            <a:xfrm rot="5400000">
              <a:off x="4878848" y="3262025"/>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nvGrpSpPr>
          <p:cNvPr id="10" name="Group 9">
            <a:extLst>
              <a:ext uri="{FF2B5EF4-FFF2-40B4-BE49-F238E27FC236}">
                <a16:creationId xmlns:a16="http://schemas.microsoft.com/office/drawing/2014/main" id="{42D6731F-0E57-41BE-BF57-C2FFDD9327C4}"/>
              </a:ext>
            </a:extLst>
          </p:cNvPr>
          <p:cNvGrpSpPr/>
          <p:nvPr/>
        </p:nvGrpSpPr>
        <p:grpSpPr>
          <a:xfrm>
            <a:off x="6591195" y="1083254"/>
            <a:ext cx="2041879" cy="2041126"/>
            <a:chOff x="5145972" y="2470023"/>
            <a:chExt cx="2041879" cy="2041126"/>
          </a:xfrm>
          <a:solidFill>
            <a:srgbClr val="00B0F0"/>
          </a:solidFill>
        </p:grpSpPr>
        <p:grpSp>
          <p:nvGrpSpPr>
            <p:cNvPr id="19" name="Group 18"/>
            <p:cNvGrpSpPr/>
            <p:nvPr/>
          </p:nvGrpSpPr>
          <p:grpSpPr>
            <a:xfrm>
              <a:off x="5145972" y="2470023"/>
              <a:ext cx="2041126" cy="2041126"/>
              <a:chOff x="2955023" y="2855911"/>
              <a:chExt cx="2041126" cy="2041126"/>
            </a:xfrm>
            <a:grpFill/>
          </p:grpSpPr>
          <p:sp>
            <p:nvSpPr>
              <p:cNvPr id="323" name="Circle: Hollow 322"/>
              <p:cNvSpPr>
                <a:spLocks noChangeAspect="1"/>
              </p:cNvSpPr>
              <p:nvPr/>
            </p:nvSpPr>
            <p:spPr>
              <a:xfrm>
                <a:off x="3117231" y="3018119"/>
                <a:ext cx="1716710" cy="1716710"/>
              </a:xfrm>
              <a:prstGeom prst="donut">
                <a:avLst>
                  <a:gd name="adj" fmla="val 713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tx1"/>
                  </a:solidFill>
                  <a:effectLst/>
                  <a:uLnTx/>
                  <a:uFillTx/>
                </a:endParaRPr>
              </a:p>
            </p:txBody>
          </p:sp>
          <p:grpSp>
            <p:nvGrpSpPr>
              <p:cNvPr id="324" name="Group 323"/>
              <p:cNvGrpSpPr/>
              <p:nvPr/>
            </p:nvGrpSpPr>
            <p:grpSpPr>
              <a:xfrm>
                <a:off x="3888066" y="2855911"/>
                <a:ext cx="175040" cy="2041126"/>
                <a:chOff x="8229799" y="2768458"/>
                <a:chExt cx="175040" cy="2041126"/>
              </a:xfrm>
              <a:grpFill/>
            </p:grpSpPr>
            <p:sp>
              <p:nvSpPr>
                <p:cNvPr id="341" name="Trapezoid 340"/>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42" name="Trapezoid 341"/>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sp>
            <p:nvSpPr>
              <p:cNvPr id="340" name="Trapezoid 339"/>
              <p:cNvSpPr/>
              <p:nvPr/>
            </p:nvSpPr>
            <p:spPr>
              <a:xfrm rot="16200000">
                <a:off x="2954957" y="3789020"/>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nvGrpSpPr>
              <p:cNvPr id="326" name="Group 325"/>
              <p:cNvGrpSpPr/>
              <p:nvPr/>
            </p:nvGrpSpPr>
            <p:grpSpPr>
              <a:xfrm rot="1800000">
                <a:off x="3888066" y="2855911"/>
                <a:ext cx="175040" cy="2041126"/>
                <a:chOff x="8229799" y="2768458"/>
                <a:chExt cx="175040" cy="2041126"/>
              </a:xfrm>
              <a:grpFill/>
            </p:grpSpPr>
            <p:sp>
              <p:nvSpPr>
                <p:cNvPr id="337" name="Trapezoid 336"/>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38" name="Trapezoid 337"/>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nvGrpSpPr>
              <p:cNvPr id="327" name="Group 326"/>
              <p:cNvGrpSpPr/>
              <p:nvPr/>
            </p:nvGrpSpPr>
            <p:grpSpPr>
              <a:xfrm rot="3600000">
                <a:off x="3888066" y="2855911"/>
                <a:ext cx="175040" cy="2041126"/>
                <a:chOff x="8229799" y="2768458"/>
                <a:chExt cx="175040" cy="2041126"/>
              </a:xfrm>
              <a:grpFill/>
            </p:grpSpPr>
            <p:sp>
              <p:nvSpPr>
                <p:cNvPr id="335" name="Trapezoid 334"/>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36" name="Trapezoid 335"/>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nvGrpSpPr>
              <p:cNvPr id="328" name="Group 327"/>
              <p:cNvGrpSpPr/>
              <p:nvPr/>
            </p:nvGrpSpPr>
            <p:grpSpPr>
              <a:xfrm rot="7200000">
                <a:off x="3888066" y="2855911"/>
                <a:ext cx="175040" cy="2041126"/>
                <a:chOff x="8229799" y="2768458"/>
                <a:chExt cx="175040" cy="2041126"/>
              </a:xfrm>
              <a:grpFill/>
            </p:grpSpPr>
            <p:sp>
              <p:nvSpPr>
                <p:cNvPr id="333" name="Trapezoid 332"/>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34" name="Trapezoid 333"/>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nvGrpSpPr>
              <p:cNvPr id="329" name="Group 328"/>
              <p:cNvGrpSpPr/>
              <p:nvPr/>
            </p:nvGrpSpPr>
            <p:grpSpPr>
              <a:xfrm rot="9000000">
                <a:off x="3888066" y="2855911"/>
                <a:ext cx="175040" cy="2041126"/>
                <a:chOff x="8229799" y="2768458"/>
                <a:chExt cx="175040" cy="2041126"/>
              </a:xfrm>
              <a:grpFill/>
            </p:grpSpPr>
            <p:sp>
              <p:nvSpPr>
                <p:cNvPr id="331" name="Trapezoid 330"/>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32" name="Trapezoid 331"/>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sp>
          <p:nvSpPr>
            <p:cNvPr id="80" name="Trapezoid 79">
              <a:extLst>
                <a:ext uri="{FF2B5EF4-FFF2-40B4-BE49-F238E27FC236}">
                  <a16:creationId xmlns:a16="http://schemas.microsoft.com/office/drawing/2014/main" id="{7712386B-DE87-4DFB-B588-8A3F50275314}"/>
                </a:ext>
              </a:extLst>
            </p:cNvPr>
            <p:cNvSpPr/>
            <p:nvPr/>
          </p:nvSpPr>
          <p:spPr>
            <a:xfrm rot="5602087">
              <a:off x="7012877" y="3408575"/>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sp>
        <p:nvSpPr>
          <p:cNvPr id="17" name="TextBox 16">
            <a:extLst>
              <a:ext uri="{FF2B5EF4-FFF2-40B4-BE49-F238E27FC236}">
                <a16:creationId xmlns:a16="http://schemas.microsoft.com/office/drawing/2014/main" id="{0CC560F6-1B10-4AB2-9D8A-4AE730E264DA}"/>
              </a:ext>
            </a:extLst>
          </p:cNvPr>
          <p:cNvSpPr txBox="1"/>
          <p:nvPr/>
        </p:nvSpPr>
        <p:spPr>
          <a:xfrm>
            <a:off x="4681228" y="1717273"/>
            <a:ext cx="541149" cy="769441"/>
          </a:xfrm>
          <a:prstGeom prst="rect">
            <a:avLst/>
          </a:prstGeom>
          <a:noFill/>
        </p:spPr>
        <p:txBody>
          <a:bodyPr wrap="square" rtlCol="0">
            <a:spAutoFit/>
          </a:bodyPr>
          <a:lstStyle/>
          <a:p>
            <a:r>
              <a:rPr lang="en-IN" sz="4400" dirty="0">
                <a:solidFill>
                  <a:srgbClr val="92D050"/>
                </a:solidFill>
                <a:latin typeface="Gill Sans MT" panose="020B0502020104020203" pitchFamily="34" charset="0"/>
              </a:rPr>
              <a:t>1</a:t>
            </a:r>
          </a:p>
        </p:txBody>
      </p:sp>
      <p:sp>
        <p:nvSpPr>
          <p:cNvPr id="202" name="TextBox 201">
            <a:extLst>
              <a:ext uri="{FF2B5EF4-FFF2-40B4-BE49-F238E27FC236}">
                <a16:creationId xmlns:a16="http://schemas.microsoft.com/office/drawing/2014/main" id="{A66A4CE1-5E4A-4A2A-BA72-3B9B8DEB32AF}"/>
              </a:ext>
            </a:extLst>
          </p:cNvPr>
          <p:cNvSpPr txBox="1"/>
          <p:nvPr/>
        </p:nvSpPr>
        <p:spPr>
          <a:xfrm>
            <a:off x="7367365" y="1666891"/>
            <a:ext cx="541149" cy="769441"/>
          </a:xfrm>
          <a:prstGeom prst="rect">
            <a:avLst/>
          </a:prstGeom>
          <a:noFill/>
        </p:spPr>
        <p:txBody>
          <a:bodyPr wrap="square" rtlCol="0">
            <a:spAutoFit/>
          </a:bodyPr>
          <a:lstStyle/>
          <a:p>
            <a:r>
              <a:rPr lang="en-IN" sz="4400" dirty="0">
                <a:solidFill>
                  <a:srgbClr val="00B0F0"/>
                </a:solidFill>
                <a:latin typeface="Gill Sans MT" panose="020B0502020104020203" pitchFamily="34" charset="0"/>
              </a:rPr>
              <a:t>2</a:t>
            </a:r>
          </a:p>
        </p:txBody>
      </p:sp>
      <p:sp>
        <p:nvSpPr>
          <p:cNvPr id="3" name="Arrow: Pentagon 2">
            <a:extLst>
              <a:ext uri="{FF2B5EF4-FFF2-40B4-BE49-F238E27FC236}">
                <a16:creationId xmlns:a16="http://schemas.microsoft.com/office/drawing/2014/main" id="{A75FE103-B5A2-4D9B-8249-831193B1FC61}"/>
              </a:ext>
            </a:extLst>
          </p:cNvPr>
          <p:cNvSpPr/>
          <p:nvPr/>
        </p:nvSpPr>
        <p:spPr>
          <a:xfrm>
            <a:off x="292260" y="1034478"/>
            <a:ext cx="2500277" cy="2661776"/>
          </a:xfrm>
          <a:prstGeom prst="homePlate">
            <a:avLst>
              <a:gd name="adj" fmla="val 14899"/>
            </a:avLst>
          </a:prstGeom>
          <a:noFill/>
          <a:ln>
            <a:solidFill>
              <a:schemeClr val="bg1">
                <a:lumMod val="50000"/>
              </a:schemeClr>
            </a:solidFill>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400" dirty="0">
                <a:solidFill>
                  <a:schemeClr val="bg1">
                    <a:lumMod val="50000"/>
                  </a:schemeClr>
                </a:solidFill>
                <a:latin typeface="Gill Sans MT" panose="020B0502020104020203" pitchFamily="34" charset="0"/>
              </a:rPr>
              <a:t>The data is downloaded from the </a:t>
            </a:r>
            <a:r>
              <a:rPr lang="en-GB" sz="1400" dirty="0" err="1">
                <a:solidFill>
                  <a:schemeClr val="bg1">
                    <a:lumMod val="50000"/>
                  </a:schemeClr>
                </a:solidFill>
                <a:latin typeface="Gill Sans MT" panose="020B0502020104020203" pitchFamily="34" charset="0"/>
              </a:rPr>
              <a:t>Upgrad</a:t>
            </a:r>
            <a:r>
              <a:rPr lang="en-GB" sz="1400" dirty="0">
                <a:solidFill>
                  <a:schemeClr val="bg1">
                    <a:lumMod val="50000"/>
                  </a:schemeClr>
                </a:solidFill>
                <a:latin typeface="Gill Sans MT" panose="020B0502020104020203" pitchFamily="34" charset="0"/>
              </a:rPr>
              <a:t>. It contains the complete loan data for all loans issued through the time period 2007 to 2011.</a:t>
            </a:r>
            <a:endParaRPr lang="en-IN" sz="1400" dirty="0">
              <a:solidFill>
                <a:schemeClr val="bg1">
                  <a:lumMod val="50000"/>
                </a:schemeClr>
              </a:solidFill>
              <a:latin typeface="Gill Sans MT" panose="020B0502020104020203" pitchFamily="34" charset="0"/>
            </a:endParaRPr>
          </a:p>
        </p:txBody>
      </p:sp>
    </p:spTree>
    <p:custDataLst>
      <p:tags r:id="rId1"/>
    </p:custDataLst>
    <p:extLst>
      <p:ext uri="{BB962C8B-B14F-4D97-AF65-F5344CB8AC3E}">
        <p14:creationId xmlns:p14="http://schemas.microsoft.com/office/powerpoint/2010/main" val="1733375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6B4F305-BE85-3675-9F47-F4B586EC4D56}"/>
              </a:ext>
            </a:extLst>
          </p:cNvPr>
          <p:cNvGraphicFramePr>
            <a:graphicFrameLocks noChangeAspect="1"/>
          </p:cNvGraphicFramePr>
          <p:nvPr>
            <p:custDataLst>
              <p:tags r:id="rId1"/>
            </p:custDataLst>
            <p:extLst>
              <p:ext uri="{D42A27DB-BD31-4B8C-83A1-F6EECF244321}">
                <p14:modId xmlns:p14="http://schemas.microsoft.com/office/powerpoint/2010/main" val="33205162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C6B4F305-BE85-3675-9F47-F4B586EC4D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1E2A9575-E71A-D1EA-5AC6-CF4BC5CC861A}"/>
              </a:ext>
            </a:extLst>
          </p:cNvPr>
          <p:cNvSpPr>
            <a:spLocks noGrp="1"/>
          </p:cNvSpPr>
          <p:nvPr>
            <p:ph type="title"/>
          </p:nvPr>
        </p:nvSpPr>
        <p:spPr>
          <a:xfrm>
            <a:off x="127987" y="106182"/>
            <a:ext cx="4650754" cy="662782"/>
          </a:xfrm>
        </p:spPr>
        <p:txBody>
          <a:bodyPr vert="horz">
            <a:normAutofit/>
          </a:bodyPr>
          <a:lstStyle/>
          <a:p>
            <a:r>
              <a:rPr lang="en-US" sz="4000" dirty="0">
                <a:latin typeface="Gill Sans MT" panose="020B0502020104020203" pitchFamily="34" charset="0"/>
              </a:rPr>
              <a:t>Methodology</a:t>
            </a:r>
          </a:p>
        </p:txBody>
      </p:sp>
      <p:sp>
        <p:nvSpPr>
          <p:cNvPr id="6" name="Freeform: Shape 5">
            <a:extLst>
              <a:ext uri="{FF2B5EF4-FFF2-40B4-BE49-F238E27FC236}">
                <a16:creationId xmlns:a16="http://schemas.microsoft.com/office/drawing/2014/main" id="{B81ACFD7-B8FF-F470-1A1C-B2BDD0D5094B}"/>
              </a:ext>
            </a:extLst>
          </p:cNvPr>
          <p:cNvSpPr/>
          <p:nvPr/>
        </p:nvSpPr>
        <p:spPr>
          <a:xfrm>
            <a:off x="4661640" y="2165325"/>
            <a:ext cx="2868720" cy="2868720"/>
          </a:xfrm>
          <a:custGeom>
            <a:avLst/>
            <a:gdLst>
              <a:gd name="connsiteX0" fmla="*/ 1434361 w 2868720"/>
              <a:gd name="connsiteY0" fmla="*/ 0 h 2868720"/>
              <a:gd name="connsiteX1" fmla="*/ 2448607 w 2868720"/>
              <a:gd name="connsiteY1" fmla="*/ 420114 h 2868720"/>
              <a:gd name="connsiteX2" fmla="*/ 2448605 w 2868720"/>
              <a:gd name="connsiteY2" fmla="*/ 2448605 h 2868720"/>
              <a:gd name="connsiteX3" fmla="*/ 420114 w 2868720"/>
              <a:gd name="connsiteY3" fmla="*/ 2448607 h 2868720"/>
              <a:gd name="connsiteX4" fmla="*/ 420115 w 2868720"/>
              <a:gd name="connsiteY4" fmla="*/ 420115 h 2868720"/>
              <a:gd name="connsiteX5" fmla="*/ 1434361 w 2868720"/>
              <a:gd name="connsiteY5" fmla="*/ 0 h 2868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8720" h="2868720">
                <a:moveTo>
                  <a:pt x="1434361" y="0"/>
                </a:moveTo>
                <a:cubicBezTo>
                  <a:pt x="1801446" y="0"/>
                  <a:pt x="2168531" y="140038"/>
                  <a:pt x="2448607" y="420114"/>
                </a:cubicBezTo>
                <a:cubicBezTo>
                  <a:pt x="3008759" y="980266"/>
                  <a:pt x="3008758" y="1888452"/>
                  <a:pt x="2448605" y="2448605"/>
                </a:cubicBezTo>
                <a:cubicBezTo>
                  <a:pt x="1888452" y="3008758"/>
                  <a:pt x="980266" y="3008759"/>
                  <a:pt x="420114" y="2448607"/>
                </a:cubicBezTo>
                <a:cubicBezTo>
                  <a:pt x="-140038" y="1888454"/>
                  <a:pt x="-140038" y="980268"/>
                  <a:pt x="420115" y="420115"/>
                </a:cubicBezTo>
                <a:cubicBezTo>
                  <a:pt x="700192" y="140039"/>
                  <a:pt x="1067277" y="0"/>
                  <a:pt x="1434361" y="0"/>
                </a:cubicBezTo>
                <a:close/>
              </a:path>
            </a:pathLst>
          </a:custGeom>
          <a:solidFill>
            <a:schemeClr val="bg1"/>
          </a:solidFill>
          <a:ln w="12700">
            <a:miter lim="400000"/>
          </a:ln>
          <a:effectLst>
            <a:outerShdw blurRad="50800" dist="38100" dir="2700000" algn="tl" rotWithShape="0">
              <a:prstClr val="black">
                <a:alpha val="40000"/>
              </a:prstClr>
            </a:outerShdw>
          </a:effectLst>
        </p:spPr>
        <p:txBody>
          <a:bodyPr wrap="square" lIns="38100" tIns="38100" rIns="38100" bIns="38100" anchor="ctr">
            <a:noAutofit/>
          </a:bodyPr>
          <a:lstStyle/>
          <a:p>
            <a:endParaRPr lang="en-US" sz="3000" dirty="0">
              <a:solidFill>
                <a:srgbClr val="FFFFFF"/>
              </a:solidFill>
              <a:effectLst>
                <a:outerShdw blurRad="38100" dist="12700" dir="5400000" rotWithShape="0">
                  <a:srgbClr val="000000">
                    <a:alpha val="50000"/>
                  </a:srgbClr>
                </a:outerShdw>
              </a:effectLst>
            </a:endParaRPr>
          </a:p>
        </p:txBody>
      </p:sp>
      <p:sp>
        <p:nvSpPr>
          <p:cNvPr id="7" name="Shape">
            <a:extLst>
              <a:ext uri="{FF2B5EF4-FFF2-40B4-BE49-F238E27FC236}">
                <a16:creationId xmlns:a16="http://schemas.microsoft.com/office/drawing/2014/main" id="{BD87E113-8E54-B67F-8E1C-30618B450AFE}"/>
              </a:ext>
            </a:extLst>
          </p:cNvPr>
          <p:cNvSpPr/>
          <p:nvPr/>
        </p:nvSpPr>
        <p:spPr>
          <a:xfrm rot="1800000">
            <a:off x="5272891" y="2181733"/>
            <a:ext cx="739464" cy="739939"/>
          </a:xfrm>
          <a:custGeom>
            <a:avLst/>
            <a:gdLst/>
            <a:ahLst/>
            <a:cxnLst>
              <a:cxn ang="0">
                <a:pos x="wd2" y="hd2"/>
              </a:cxn>
              <a:cxn ang="5400000">
                <a:pos x="wd2" y="hd2"/>
              </a:cxn>
              <a:cxn ang="10800000">
                <a:pos x="wd2" y="hd2"/>
              </a:cxn>
              <a:cxn ang="16200000">
                <a:pos x="wd2" y="hd2"/>
              </a:cxn>
            </a:cxnLst>
            <a:rect l="0" t="0" r="r" b="b"/>
            <a:pathLst>
              <a:path w="21440" h="21454" extrusionOk="0">
                <a:moveTo>
                  <a:pt x="16624" y="16624"/>
                </a:moveTo>
                <a:cubicBezTo>
                  <a:pt x="15254" y="17994"/>
                  <a:pt x="13803" y="19041"/>
                  <a:pt x="12191" y="19928"/>
                </a:cubicBezTo>
                <a:cubicBezTo>
                  <a:pt x="10660" y="20734"/>
                  <a:pt x="9209" y="21218"/>
                  <a:pt x="7677" y="21379"/>
                </a:cubicBezTo>
                <a:cubicBezTo>
                  <a:pt x="6227" y="21540"/>
                  <a:pt x="4937" y="21459"/>
                  <a:pt x="3809" y="20976"/>
                </a:cubicBezTo>
                <a:cubicBezTo>
                  <a:pt x="2680" y="20573"/>
                  <a:pt x="1713" y="19847"/>
                  <a:pt x="1068" y="18800"/>
                </a:cubicBezTo>
                <a:cubicBezTo>
                  <a:pt x="424" y="17833"/>
                  <a:pt x="101" y="16785"/>
                  <a:pt x="21" y="15495"/>
                </a:cubicBezTo>
                <a:cubicBezTo>
                  <a:pt x="-60" y="14367"/>
                  <a:pt x="101" y="13158"/>
                  <a:pt x="504" y="11868"/>
                </a:cubicBezTo>
                <a:cubicBezTo>
                  <a:pt x="827" y="10659"/>
                  <a:pt x="1391" y="9450"/>
                  <a:pt x="2116" y="8241"/>
                </a:cubicBezTo>
                <a:lnTo>
                  <a:pt x="2116" y="8241"/>
                </a:lnTo>
                <a:cubicBezTo>
                  <a:pt x="3567" y="5824"/>
                  <a:pt x="5824" y="3647"/>
                  <a:pt x="8241" y="2116"/>
                </a:cubicBezTo>
                <a:cubicBezTo>
                  <a:pt x="9450" y="1391"/>
                  <a:pt x="10659" y="827"/>
                  <a:pt x="11868" y="504"/>
                </a:cubicBezTo>
                <a:cubicBezTo>
                  <a:pt x="13158" y="101"/>
                  <a:pt x="14367" y="-60"/>
                  <a:pt x="15495" y="21"/>
                </a:cubicBezTo>
                <a:cubicBezTo>
                  <a:pt x="16785" y="101"/>
                  <a:pt x="17833" y="504"/>
                  <a:pt x="18800" y="1068"/>
                </a:cubicBezTo>
                <a:cubicBezTo>
                  <a:pt x="19767" y="1713"/>
                  <a:pt x="20492" y="2680"/>
                  <a:pt x="20976" y="3809"/>
                </a:cubicBezTo>
                <a:cubicBezTo>
                  <a:pt x="21379" y="4937"/>
                  <a:pt x="21540" y="6227"/>
                  <a:pt x="21379" y="7677"/>
                </a:cubicBezTo>
                <a:cubicBezTo>
                  <a:pt x="21218" y="9128"/>
                  <a:pt x="20734" y="10659"/>
                  <a:pt x="19928" y="12191"/>
                </a:cubicBezTo>
                <a:cubicBezTo>
                  <a:pt x="19042" y="13803"/>
                  <a:pt x="17913" y="15334"/>
                  <a:pt x="16624" y="16624"/>
                </a:cubicBezTo>
                <a:close/>
                <a:moveTo>
                  <a:pt x="2842" y="8725"/>
                </a:moveTo>
                <a:lnTo>
                  <a:pt x="2842" y="8725"/>
                </a:lnTo>
                <a:cubicBezTo>
                  <a:pt x="2116" y="9853"/>
                  <a:pt x="1633" y="10982"/>
                  <a:pt x="1310" y="12191"/>
                </a:cubicBezTo>
                <a:cubicBezTo>
                  <a:pt x="988" y="13400"/>
                  <a:pt x="827" y="14447"/>
                  <a:pt x="907" y="15495"/>
                </a:cubicBezTo>
                <a:cubicBezTo>
                  <a:pt x="988" y="16624"/>
                  <a:pt x="1310" y="17510"/>
                  <a:pt x="1794" y="18316"/>
                </a:cubicBezTo>
                <a:cubicBezTo>
                  <a:pt x="2358" y="19122"/>
                  <a:pt x="3164" y="19767"/>
                  <a:pt x="4051" y="20089"/>
                </a:cubicBezTo>
                <a:cubicBezTo>
                  <a:pt x="5018" y="20492"/>
                  <a:pt x="6227" y="20573"/>
                  <a:pt x="7516" y="20412"/>
                </a:cubicBezTo>
                <a:cubicBezTo>
                  <a:pt x="8886" y="20250"/>
                  <a:pt x="10257" y="19767"/>
                  <a:pt x="11707" y="19041"/>
                </a:cubicBezTo>
                <a:cubicBezTo>
                  <a:pt x="13239" y="18236"/>
                  <a:pt x="14609" y="17188"/>
                  <a:pt x="15898" y="15898"/>
                </a:cubicBezTo>
                <a:cubicBezTo>
                  <a:pt x="17188" y="14609"/>
                  <a:pt x="18236" y="13158"/>
                  <a:pt x="19042" y="11707"/>
                </a:cubicBezTo>
                <a:cubicBezTo>
                  <a:pt x="19767" y="10256"/>
                  <a:pt x="20251" y="8886"/>
                  <a:pt x="20412" y="7516"/>
                </a:cubicBezTo>
                <a:cubicBezTo>
                  <a:pt x="20573" y="6227"/>
                  <a:pt x="20492" y="5098"/>
                  <a:pt x="20089" y="4050"/>
                </a:cubicBezTo>
                <a:cubicBezTo>
                  <a:pt x="19686" y="3083"/>
                  <a:pt x="19122" y="2277"/>
                  <a:pt x="18316" y="1794"/>
                </a:cubicBezTo>
                <a:cubicBezTo>
                  <a:pt x="17510" y="1230"/>
                  <a:pt x="16543" y="988"/>
                  <a:pt x="15495" y="907"/>
                </a:cubicBezTo>
                <a:cubicBezTo>
                  <a:pt x="14448" y="827"/>
                  <a:pt x="13319" y="988"/>
                  <a:pt x="12191" y="1310"/>
                </a:cubicBezTo>
                <a:cubicBezTo>
                  <a:pt x="11063" y="1633"/>
                  <a:pt x="9854" y="2197"/>
                  <a:pt x="8725" y="2842"/>
                </a:cubicBezTo>
                <a:cubicBezTo>
                  <a:pt x="6388" y="4373"/>
                  <a:pt x="4292" y="6468"/>
                  <a:pt x="2842" y="8725"/>
                </a:cubicBezTo>
                <a:close/>
              </a:path>
            </a:pathLst>
          </a:custGeom>
          <a:solidFill>
            <a:schemeClr val="bg2"/>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effectLst>
                  <a:outerShdw blurRad="38100" dist="12700" dir="5400000" rotWithShape="0">
                    <a:srgbClr val="000000">
                      <a:alpha val="50000"/>
                    </a:srgbClr>
                  </a:outerShdw>
                </a:effectLst>
              </a:defRPr>
            </a:pPr>
            <a:endParaRPr/>
          </a:p>
        </p:txBody>
      </p:sp>
      <p:sp>
        <p:nvSpPr>
          <p:cNvPr id="8" name="Shape">
            <a:extLst>
              <a:ext uri="{FF2B5EF4-FFF2-40B4-BE49-F238E27FC236}">
                <a16:creationId xmlns:a16="http://schemas.microsoft.com/office/drawing/2014/main" id="{FD74658D-4932-0F2E-5986-691B45219BE5}"/>
              </a:ext>
            </a:extLst>
          </p:cNvPr>
          <p:cNvSpPr/>
          <p:nvPr/>
        </p:nvSpPr>
        <p:spPr>
          <a:xfrm rot="1800000">
            <a:off x="6082327" y="2250161"/>
            <a:ext cx="873061" cy="580428"/>
          </a:xfrm>
          <a:custGeom>
            <a:avLst/>
            <a:gdLst/>
            <a:ahLst/>
            <a:cxnLst>
              <a:cxn ang="0">
                <a:pos x="wd2" y="hd2"/>
              </a:cxn>
              <a:cxn ang="5400000">
                <a:pos x="wd2" y="hd2"/>
              </a:cxn>
              <a:cxn ang="10800000">
                <a:pos x="wd2" y="hd2"/>
              </a:cxn>
              <a:cxn ang="16200000">
                <a:pos x="wd2" y="hd2"/>
              </a:cxn>
            </a:cxnLst>
            <a:rect l="0" t="0" r="r" b="b"/>
            <a:pathLst>
              <a:path w="21401" h="21175" extrusionOk="0">
                <a:moveTo>
                  <a:pt x="11148" y="21097"/>
                </a:moveTo>
                <a:cubicBezTo>
                  <a:pt x="9513" y="21300"/>
                  <a:pt x="7946" y="21097"/>
                  <a:pt x="6515" y="20590"/>
                </a:cubicBezTo>
                <a:cubicBezTo>
                  <a:pt x="5084" y="20083"/>
                  <a:pt x="3857" y="19373"/>
                  <a:pt x="2835" y="18258"/>
                </a:cubicBezTo>
                <a:cubicBezTo>
                  <a:pt x="1813" y="17244"/>
                  <a:pt x="1063" y="16027"/>
                  <a:pt x="586" y="14708"/>
                </a:cubicBezTo>
                <a:cubicBezTo>
                  <a:pt x="109" y="13390"/>
                  <a:pt x="-95" y="11869"/>
                  <a:pt x="41" y="10449"/>
                </a:cubicBezTo>
                <a:cubicBezTo>
                  <a:pt x="177" y="9030"/>
                  <a:pt x="518" y="7711"/>
                  <a:pt x="1200" y="6393"/>
                </a:cubicBezTo>
                <a:cubicBezTo>
                  <a:pt x="1813" y="5277"/>
                  <a:pt x="2562" y="4162"/>
                  <a:pt x="3516" y="3249"/>
                </a:cubicBezTo>
                <a:cubicBezTo>
                  <a:pt x="4402" y="2337"/>
                  <a:pt x="5424" y="1627"/>
                  <a:pt x="6583" y="1120"/>
                </a:cubicBezTo>
                <a:lnTo>
                  <a:pt x="6583" y="1120"/>
                </a:lnTo>
                <a:cubicBezTo>
                  <a:pt x="8899" y="4"/>
                  <a:pt x="11489" y="-300"/>
                  <a:pt x="13873" y="308"/>
                </a:cubicBezTo>
                <a:cubicBezTo>
                  <a:pt x="15032" y="613"/>
                  <a:pt x="16122" y="1018"/>
                  <a:pt x="17144" y="1728"/>
                </a:cubicBezTo>
                <a:cubicBezTo>
                  <a:pt x="18166" y="2438"/>
                  <a:pt x="19052" y="3249"/>
                  <a:pt x="19733" y="4263"/>
                </a:cubicBezTo>
                <a:cubicBezTo>
                  <a:pt x="20483" y="5379"/>
                  <a:pt x="21028" y="6596"/>
                  <a:pt x="21232" y="8015"/>
                </a:cubicBezTo>
                <a:cubicBezTo>
                  <a:pt x="21505" y="9435"/>
                  <a:pt x="21437" y="10956"/>
                  <a:pt x="21096" y="12376"/>
                </a:cubicBezTo>
                <a:cubicBezTo>
                  <a:pt x="20755" y="13796"/>
                  <a:pt x="20142" y="15215"/>
                  <a:pt x="19188" y="16432"/>
                </a:cubicBezTo>
                <a:cubicBezTo>
                  <a:pt x="18234" y="17649"/>
                  <a:pt x="17144" y="18765"/>
                  <a:pt x="15781" y="19475"/>
                </a:cubicBezTo>
                <a:cubicBezTo>
                  <a:pt x="14282" y="20489"/>
                  <a:pt x="12715" y="20996"/>
                  <a:pt x="11148" y="21097"/>
                </a:cubicBezTo>
                <a:close/>
                <a:moveTo>
                  <a:pt x="6719" y="2337"/>
                </a:moveTo>
                <a:lnTo>
                  <a:pt x="6719" y="2337"/>
                </a:lnTo>
                <a:cubicBezTo>
                  <a:pt x="5629" y="2844"/>
                  <a:pt x="4675" y="3554"/>
                  <a:pt x="3857" y="4365"/>
                </a:cubicBezTo>
                <a:cubicBezTo>
                  <a:pt x="2971" y="5176"/>
                  <a:pt x="2290" y="6190"/>
                  <a:pt x="1745" y="7204"/>
                </a:cubicBezTo>
                <a:cubicBezTo>
                  <a:pt x="1200" y="8320"/>
                  <a:pt x="859" y="9435"/>
                  <a:pt x="791" y="10652"/>
                </a:cubicBezTo>
                <a:cubicBezTo>
                  <a:pt x="723" y="11869"/>
                  <a:pt x="859" y="13086"/>
                  <a:pt x="1268" y="14303"/>
                </a:cubicBezTo>
                <a:cubicBezTo>
                  <a:pt x="1677" y="15520"/>
                  <a:pt x="2358" y="16534"/>
                  <a:pt x="3312" y="17446"/>
                </a:cubicBezTo>
                <a:cubicBezTo>
                  <a:pt x="4266" y="18359"/>
                  <a:pt x="5424" y="19069"/>
                  <a:pt x="6719" y="19576"/>
                </a:cubicBezTo>
                <a:cubicBezTo>
                  <a:pt x="8082" y="20083"/>
                  <a:pt x="9581" y="20185"/>
                  <a:pt x="11148" y="20083"/>
                </a:cubicBezTo>
                <a:cubicBezTo>
                  <a:pt x="12715" y="19880"/>
                  <a:pt x="14146" y="19475"/>
                  <a:pt x="15441" y="18663"/>
                </a:cubicBezTo>
                <a:cubicBezTo>
                  <a:pt x="16667" y="17954"/>
                  <a:pt x="17758" y="16939"/>
                  <a:pt x="18643" y="15824"/>
                </a:cubicBezTo>
                <a:cubicBezTo>
                  <a:pt x="19461" y="14708"/>
                  <a:pt x="20006" y="13492"/>
                  <a:pt x="20347" y="12275"/>
                </a:cubicBezTo>
                <a:cubicBezTo>
                  <a:pt x="20619" y="11058"/>
                  <a:pt x="20687" y="9841"/>
                  <a:pt x="20483" y="8624"/>
                </a:cubicBezTo>
                <a:cubicBezTo>
                  <a:pt x="20279" y="7508"/>
                  <a:pt x="19802" y="6393"/>
                  <a:pt x="19188" y="5379"/>
                </a:cubicBezTo>
                <a:cubicBezTo>
                  <a:pt x="18575" y="4466"/>
                  <a:pt x="17757" y="3655"/>
                  <a:pt x="16803" y="3046"/>
                </a:cubicBezTo>
                <a:cubicBezTo>
                  <a:pt x="15850" y="2438"/>
                  <a:pt x="14827" y="1931"/>
                  <a:pt x="13737" y="1728"/>
                </a:cubicBezTo>
                <a:cubicBezTo>
                  <a:pt x="11352" y="1018"/>
                  <a:pt x="8831" y="1323"/>
                  <a:pt x="6719" y="2337"/>
                </a:cubicBezTo>
                <a:close/>
              </a:path>
            </a:pathLst>
          </a:custGeom>
          <a:solidFill>
            <a:schemeClr val="bg2"/>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effectLst>
                  <a:outerShdw blurRad="38100" dist="12700" dir="5400000" rotWithShape="0">
                    <a:srgbClr val="000000">
                      <a:alpha val="50000"/>
                    </a:srgbClr>
                  </a:outerShdw>
                </a:effectLst>
              </a:defRPr>
            </a:pPr>
            <a:endParaRPr/>
          </a:p>
        </p:txBody>
      </p:sp>
      <p:sp>
        <p:nvSpPr>
          <p:cNvPr id="9" name="Shape">
            <a:extLst>
              <a:ext uri="{FF2B5EF4-FFF2-40B4-BE49-F238E27FC236}">
                <a16:creationId xmlns:a16="http://schemas.microsoft.com/office/drawing/2014/main" id="{1E5A5B01-5B2D-7B00-C9A9-904FBCF4C463}"/>
              </a:ext>
            </a:extLst>
          </p:cNvPr>
          <p:cNvSpPr/>
          <p:nvPr/>
        </p:nvSpPr>
        <p:spPr>
          <a:xfrm rot="1800000">
            <a:off x="4681031" y="3668036"/>
            <a:ext cx="739932" cy="739464"/>
          </a:xfrm>
          <a:custGeom>
            <a:avLst/>
            <a:gdLst/>
            <a:ahLst/>
            <a:cxnLst>
              <a:cxn ang="0">
                <a:pos x="wd2" y="hd2"/>
              </a:cxn>
              <a:cxn ang="5400000">
                <a:pos x="wd2" y="hd2"/>
              </a:cxn>
              <a:cxn ang="10800000">
                <a:pos x="wd2" y="hd2"/>
              </a:cxn>
              <a:cxn ang="16200000">
                <a:pos x="wd2" y="hd2"/>
              </a:cxn>
            </a:cxnLst>
            <a:rect l="0" t="0" r="r" b="b"/>
            <a:pathLst>
              <a:path w="21454" h="21440" extrusionOk="0">
                <a:moveTo>
                  <a:pt x="16624" y="4817"/>
                </a:moveTo>
                <a:cubicBezTo>
                  <a:pt x="17994" y="6188"/>
                  <a:pt x="19041" y="7638"/>
                  <a:pt x="19928" y="9250"/>
                </a:cubicBezTo>
                <a:cubicBezTo>
                  <a:pt x="20734" y="10782"/>
                  <a:pt x="21218" y="12232"/>
                  <a:pt x="21379" y="13764"/>
                </a:cubicBezTo>
                <a:cubicBezTo>
                  <a:pt x="21540" y="15214"/>
                  <a:pt x="21459" y="16504"/>
                  <a:pt x="20976" y="17632"/>
                </a:cubicBezTo>
                <a:cubicBezTo>
                  <a:pt x="20573" y="18761"/>
                  <a:pt x="19847" y="19728"/>
                  <a:pt x="18800" y="20373"/>
                </a:cubicBezTo>
                <a:cubicBezTo>
                  <a:pt x="17833" y="21017"/>
                  <a:pt x="16785" y="21340"/>
                  <a:pt x="15495" y="21420"/>
                </a:cubicBezTo>
                <a:cubicBezTo>
                  <a:pt x="14367" y="21501"/>
                  <a:pt x="13158" y="21340"/>
                  <a:pt x="11868" y="20937"/>
                </a:cubicBezTo>
                <a:cubicBezTo>
                  <a:pt x="10659" y="20614"/>
                  <a:pt x="9450" y="20050"/>
                  <a:pt x="8241" y="19325"/>
                </a:cubicBezTo>
                <a:lnTo>
                  <a:pt x="8241" y="19325"/>
                </a:lnTo>
                <a:cubicBezTo>
                  <a:pt x="5824" y="17874"/>
                  <a:pt x="3647" y="15617"/>
                  <a:pt x="2116" y="13200"/>
                </a:cubicBezTo>
                <a:cubicBezTo>
                  <a:pt x="1391" y="11991"/>
                  <a:pt x="827" y="10782"/>
                  <a:pt x="504" y="9573"/>
                </a:cubicBezTo>
                <a:cubicBezTo>
                  <a:pt x="101" y="8283"/>
                  <a:pt x="-60" y="7074"/>
                  <a:pt x="21" y="5946"/>
                </a:cubicBezTo>
                <a:cubicBezTo>
                  <a:pt x="101" y="4656"/>
                  <a:pt x="504" y="3608"/>
                  <a:pt x="1068" y="2641"/>
                </a:cubicBezTo>
                <a:cubicBezTo>
                  <a:pt x="1713" y="1674"/>
                  <a:pt x="2680" y="949"/>
                  <a:pt x="3809" y="465"/>
                </a:cubicBezTo>
                <a:cubicBezTo>
                  <a:pt x="4937" y="62"/>
                  <a:pt x="6227" y="-99"/>
                  <a:pt x="7677" y="62"/>
                </a:cubicBezTo>
                <a:cubicBezTo>
                  <a:pt x="9128" y="223"/>
                  <a:pt x="10660" y="707"/>
                  <a:pt x="12191" y="1513"/>
                </a:cubicBezTo>
                <a:cubicBezTo>
                  <a:pt x="13803" y="2400"/>
                  <a:pt x="15334" y="3528"/>
                  <a:pt x="16624" y="4817"/>
                </a:cubicBezTo>
                <a:close/>
                <a:moveTo>
                  <a:pt x="8725" y="18600"/>
                </a:moveTo>
                <a:lnTo>
                  <a:pt x="8725" y="18600"/>
                </a:lnTo>
                <a:cubicBezTo>
                  <a:pt x="9853" y="19325"/>
                  <a:pt x="10982" y="19808"/>
                  <a:pt x="12191" y="20131"/>
                </a:cubicBezTo>
                <a:cubicBezTo>
                  <a:pt x="13400" y="20453"/>
                  <a:pt x="14447" y="20614"/>
                  <a:pt x="15495" y="20534"/>
                </a:cubicBezTo>
                <a:cubicBezTo>
                  <a:pt x="16624" y="20453"/>
                  <a:pt x="17510" y="20131"/>
                  <a:pt x="18316" y="19647"/>
                </a:cubicBezTo>
                <a:cubicBezTo>
                  <a:pt x="19122" y="19083"/>
                  <a:pt x="19767" y="18277"/>
                  <a:pt x="20089" y="17391"/>
                </a:cubicBezTo>
                <a:cubicBezTo>
                  <a:pt x="20492" y="16423"/>
                  <a:pt x="20573" y="15214"/>
                  <a:pt x="20412" y="13925"/>
                </a:cubicBezTo>
                <a:cubicBezTo>
                  <a:pt x="20250" y="12555"/>
                  <a:pt x="19767" y="11185"/>
                  <a:pt x="19041" y="9734"/>
                </a:cubicBezTo>
                <a:cubicBezTo>
                  <a:pt x="18236" y="8203"/>
                  <a:pt x="17188" y="6832"/>
                  <a:pt x="15898" y="5543"/>
                </a:cubicBezTo>
                <a:cubicBezTo>
                  <a:pt x="14609" y="4253"/>
                  <a:pt x="13158" y="3206"/>
                  <a:pt x="11707" y="2400"/>
                </a:cubicBezTo>
                <a:cubicBezTo>
                  <a:pt x="10256" y="1674"/>
                  <a:pt x="8886" y="1191"/>
                  <a:pt x="7516" y="1029"/>
                </a:cubicBezTo>
                <a:cubicBezTo>
                  <a:pt x="6227" y="868"/>
                  <a:pt x="5098" y="949"/>
                  <a:pt x="4050" y="1352"/>
                </a:cubicBezTo>
                <a:cubicBezTo>
                  <a:pt x="3083" y="1755"/>
                  <a:pt x="2277" y="2319"/>
                  <a:pt x="1794" y="3125"/>
                </a:cubicBezTo>
                <a:cubicBezTo>
                  <a:pt x="1229" y="3931"/>
                  <a:pt x="988" y="4898"/>
                  <a:pt x="907" y="5946"/>
                </a:cubicBezTo>
                <a:cubicBezTo>
                  <a:pt x="826" y="6994"/>
                  <a:pt x="988" y="8122"/>
                  <a:pt x="1310" y="9250"/>
                </a:cubicBezTo>
                <a:cubicBezTo>
                  <a:pt x="1632" y="10379"/>
                  <a:pt x="2197" y="11588"/>
                  <a:pt x="2841" y="12716"/>
                </a:cubicBezTo>
                <a:cubicBezTo>
                  <a:pt x="4373" y="15053"/>
                  <a:pt x="6468" y="17149"/>
                  <a:pt x="8725" y="18600"/>
                </a:cubicBezTo>
                <a:close/>
              </a:path>
            </a:pathLst>
          </a:custGeom>
          <a:solidFill>
            <a:schemeClr val="bg2"/>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effectLst>
                  <a:outerShdw blurRad="38100" dist="12700" dir="5400000" rotWithShape="0">
                    <a:srgbClr val="000000">
                      <a:alpha val="50000"/>
                    </a:srgbClr>
                  </a:outerShdw>
                </a:effectLst>
              </a:defRPr>
            </a:pPr>
            <a:endParaRPr/>
          </a:p>
        </p:txBody>
      </p:sp>
      <p:sp>
        <p:nvSpPr>
          <p:cNvPr id="10" name="Shape">
            <a:extLst>
              <a:ext uri="{FF2B5EF4-FFF2-40B4-BE49-F238E27FC236}">
                <a16:creationId xmlns:a16="http://schemas.microsoft.com/office/drawing/2014/main" id="{5246F944-00C9-0FA3-1FD5-423A704C71F3}"/>
              </a:ext>
            </a:extLst>
          </p:cNvPr>
          <p:cNvSpPr/>
          <p:nvPr/>
        </p:nvSpPr>
        <p:spPr>
          <a:xfrm rot="1800000">
            <a:off x="4741076" y="2737125"/>
            <a:ext cx="578200" cy="872170"/>
          </a:xfrm>
          <a:custGeom>
            <a:avLst/>
            <a:gdLst/>
            <a:ahLst/>
            <a:cxnLst>
              <a:cxn ang="0">
                <a:pos x="wd2" y="hd2"/>
              </a:cxn>
              <a:cxn ang="5400000">
                <a:pos x="wd2" y="hd2"/>
              </a:cxn>
              <a:cxn ang="10800000">
                <a:pos x="wd2" y="hd2"/>
              </a:cxn>
              <a:cxn ang="16200000">
                <a:pos x="wd2" y="hd2"/>
              </a:cxn>
            </a:cxnLst>
            <a:rect l="0" t="0" r="r" b="b"/>
            <a:pathLst>
              <a:path w="21394" h="21379" extrusionOk="0">
                <a:moveTo>
                  <a:pt x="21394" y="10656"/>
                </a:moveTo>
                <a:cubicBezTo>
                  <a:pt x="21394" y="12291"/>
                  <a:pt x="21085" y="13858"/>
                  <a:pt x="20365" y="15289"/>
                </a:cubicBezTo>
                <a:cubicBezTo>
                  <a:pt x="19748" y="16652"/>
                  <a:pt x="18823" y="17879"/>
                  <a:pt x="17588" y="18833"/>
                </a:cubicBezTo>
                <a:cubicBezTo>
                  <a:pt x="16457" y="19787"/>
                  <a:pt x="15120" y="20468"/>
                  <a:pt x="13680" y="20945"/>
                </a:cubicBezTo>
                <a:cubicBezTo>
                  <a:pt x="12240" y="21354"/>
                  <a:pt x="10800" y="21490"/>
                  <a:pt x="9257" y="21286"/>
                </a:cubicBezTo>
                <a:cubicBezTo>
                  <a:pt x="7817" y="21081"/>
                  <a:pt x="6480" y="20672"/>
                  <a:pt x="5348" y="19923"/>
                </a:cubicBezTo>
                <a:cubicBezTo>
                  <a:pt x="4217" y="19310"/>
                  <a:pt x="3291" y="18492"/>
                  <a:pt x="2468" y="17470"/>
                </a:cubicBezTo>
                <a:cubicBezTo>
                  <a:pt x="1645" y="16516"/>
                  <a:pt x="1131" y="15426"/>
                  <a:pt x="617" y="14335"/>
                </a:cubicBezTo>
                <a:lnTo>
                  <a:pt x="617" y="14335"/>
                </a:lnTo>
                <a:cubicBezTo>
                  <a:pt x="-206" y="12019"/>
                  <a:pt x="-206" y="9361"/>
                  <a:pt x="617" y="7045"/>
                </a:cubicBezTo>
                <a:cubicBezTo>
                  <a:pt x="1028" y="5886"/>
                  <a:pt x="1645" y="4796"/>
                  <a:pt x="2468" y="3910"/>
                </a:cubicBezTo>
                <a:cubicBezTo>
                  <a:pt x="3291" y="2956"/>
                  <a:pt x="4217" y="2070"/>
                  <a:pt x="5348" y="1457"/>
                </a:cubicBezTo>
                <a:cubicBezTo>
                  <a:pt x="6583" y="776"/>
                  <a:pt x="7920" y="299"/>
                  <a:pt x="9257" y="94"/>
                </a:cubicBezTo>
                <a:cubicBezTo>
                  <a:pt x="10800" y="-110"/>
                  <a:pt x="12240" y="26"/>
                  <a:pt x="13680" y="435"/>
                </a:cubicBezTo>
                <a:cubicBezTo>
                  <a:pt x="15120" y="844"/>
                  <a:pt x="16354" y="1525"/>
                  <a:pt x="17485" y="2547"/>
                </a:cubicBezTo>
                <a:cubicBezTo>
                  <a:pt x="18617" y="3501"/>
                  <a:pt x="19543" y="4728"/>
                  <a:pt x="20262" y="6091"/>
                </a:cubicBezTo>
                <a:cubicBezTo>
                  <a:pt x="20983" y="7453"/>
                  <a:pt x="21394" y="9021"/>
                  <a:pt x="21394" y="10656"/>
                </a:cubicBezTo>
                <a:close/>
                <a:moveTo>
                  <a:pt x="1851" y="14131"/>
                </a:moveTo>
                <a:lnTo>
                  <a:pt x="1851" y="14131"/>
                </a:lnTo>
                <a:cubicBezTo>
                  <a:pt x="2263" y="15221"/>
                  <a:pt x="2777" y="16243"/>
                  <a:pt x="3497" y="17129"/>
                </a:cubicBezTo>
                <a:cubicBezTo>
                  <a:pt x="4217" y="18015"/>
                  <a:pt x="5143" y="18764"/>
                  <a:pt x="6171" y="19378"/>
                </a:cubicBezTo>
                <a:cubicBezTo>
                  <a:pt x="7200" y="19991"/>
                  <a:pt x="8331" y="20400"/>
                  <a:pt x="9566" y="20536"/>
                </a:cubicBezTo>
                <a:cubicBezTo>
                  <a:pt x="10800" y="20672"/>
                  <a:pt x="12034" y="20604"/>
                  <a:pt x="13268" y="20264"/>
                </a:cubicBezTo>
                <a:cubicBezTo>
                  <a:pt x="14503" y="19923"/>
                  <a:pt x="15634" y="19241"/>
                  <a:pt x="16663" y="18424"/>
                </a:cubicBezTo>
                <a:cubicBezTo>
                  <a:pt x="17691" y="17538"/>
                  <a:pt x="18617" y="16380"/>
                  <a:pt x="19234" y="15085"/>
                </a:cubicBezTo>
                <a:cubicBezTo>
                  <a:pt x="19851" y="13722"/>
                  <a:pt x="20263" y="12223"/>
                  <a:pt x="20263" y="10724"/>
                </a:cubicBezTo>
                <a:cubicBezTo>
                  <a:pt x="20263" y="9157"/>
                  <a:pt x="19954" y="7726"/>
                  <a:pt x="19234" y="6363"/>
                </a:cubicBezTo>
                <a:cubicBezTo>
                  <a:pt x="18617" y="5069"/>
                  <a:pt x="17794" y="3978"/>
                  <a:pt x="16663" y="3024"/>
                </a:cubicBezTo>
                <a:cubicBezTo>
                  <a:pt x="15634" y="2139"/>
                  <a:pt x="14503" y="1525"/>
                  <a:pt x="13268" y="1185"/>
                </a:cubicBezTo>
                <a:cubicBezTo>
                  <a:pt x="12034" y="844"/>
                  <a:pt x="10800" y="708"/>
                  <a:pt x="9566" y="912"/>
                </a:cubicBezTo>
                <a:cubicBezTo>
                  <a:pt x="8331" y="1048"/>
                  <a:pt x="7200" y="1457"/>
                  <a:pt x="6171" y="2070"/>
                </a:cubicBezTo>
                <a:cubicBezTo>
                  <a:pt x="5143" y="2616"/>
                  <a:pt x="4320" y="3365"/>
                  <a:pt x="3497" y="4319"/>
                </a:cubicBezTo>
                <a:cubicBezTo>
                  <a:pt x="2777" y="5205"/>
                  <a:pt x="2160" y="6227"/>
                  <a:pt x="1851" y="7317"/>
                </a:cubicBezTo>
                <a:cubicBezTo>
                  <a:pt x="1029" y="9361"/>
                  <a:pt x="1029" y="11882"/>
                  <a:pt x="1851" y="14131"/>
                </a:cubicBezTo>
                <a:close/>
              </a:path>
            </a:pathLst>
          </a:custGeom>
          <a:solidFill>
            <a:schemeClr val="bg2"/>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effectLst>
                  <a:outerShdw blurRad="38100" dist="12700" dir="5400000" rotWithShape="0">
                    <a:srgbClr val="000000">
                      <a:alpha val="50000"/>
                    </a:srgbClr>
                  </a:outerShdw>
                </a:effectLst>
              </a:defRPr>
            </a:pPr>
            <a:endParaRPr/>
          </a:p>
        </p:txBody>
      </p:sp>
      <p:sp>
        <p:nvSpPr>
          <p:cNvPr id="11" name="Shape">
            <a:extLst>
              <a:ext uri="{FF2B5EF4-FFF2-40B4-BE49-F238E27FC236}">
                <a16:creationId xmlns:a16="http://schemas.microsoft.com/office/drawing/2014/main" id="{1791F1F2-881C-6377-F654-7F8505A21928}"/>
              </a:ext>
            </a:extLst>
          </p:cNvPr>
          <p:cNvSpPr/>
          <p:nvPr/>
        </p:nvSpPr>
        <p:spPr>
          <a:xfrm rot="1800000">
            <a:off x="6174920" y="4278021"/>
            <a:ext cx="694839" cy="780322"/>
          </a:xfrm>
          <a:custGeom>
            <a:avLst/>
            <a:gdLst/>
            <a:ahLst/>
            <a:cxnLst>
              <a:cxn ang="0">
                <a:pos x="wd2" y="hd2"/>
              </a:cxn>
              <a:cxn ang="5400000">
                <a:pos x="wd2" y="hd2"/>
              </a:cxn>
              <a:cxn ang="10800000">
                <a:pos x="wd2" y="hd2"/>
              </a:cxn>
              <a:cxn ang="16200000">
                <a:pos x="wd2" y="hd2"/>
              </a:cxn>
            </a:cxnLst>
            <a:rect l="0" t="0" r="r" b="b"/>
            <a:pathLst>
              <a:path w="21425" h="21425" extrusionOk="0">
                <a:moveTo>
                  <a:pt x="3613" y="6065"/>
                </a:moveTo>
                <a:cubicBezTo>
                  <a:pt x="4813" y="4615"/>
                  <a:pt x="6184" y="3394"/>
                  <a:pt x="7727" y="2325"/>
                </a:cubicBezTo>
                <a:cubicBezTo>
                  <a:pt x="9184" y="1410"/>
                  <a:pt x="10727" y="723"/>
                  <a:pt x="12184" y="341"/>
                </a:cubicBezTo>
                <a:cubicBezTo>
                  <a:pt x="13641" y="-41"/>
                  <a:pt x="15098" y="-117"/>
                  <a:pt x="16298" y="188"/>
                </a:cubicBezTo>
                <a:cubicBezTo>
                  <a:pt x="17584" y="417"/>
                  <a:pt x="18613" y="952"/>
                  <a:pt x="19556" y="1791"/>
                </a:cubicBezTo>
                <a:cubicBezTo>
                  <a:pt x="20327" y="2554"/>
                  <a:pt x="20927" y="3547"/>
                  <a:pt x="21184" y="4691"/>
                </a:cubicBezTo>
                <a:cubicBezTo>
                  <a:pt x="21441" y="5760"/>
                  <a:pt x="21527" y="6905"/>
                  <a:pt x="21270" y="8202"/>
                </a:cubicBezTo>
                <a:cubicBezTo>
                  <a:pt x="21098" y="9424"/>
                  <a:pt x="20670" y="10645"/>
                  <a:pt x="20155" y="11866"/>
                </a:cubicBezTo>
                <a:lnTo>
                  <a:pt x="20155" y="11866"/>
                </a:lnTo>
                <a:cubicBezTo>
                  <a:pt x="18955" y="14385"/>
                  <a:pt x="16984" y="16751"/>
                  <a:pt x="14670" y="18430"/>
                </a:cubicBezTo>
                <a:cubicBezTo>
                  <a:pt x="13555" y="19270"/>
                  <a:pt x="12355" y="19956"/>
                  <a:pt x="11070" y="20491"/>
                </a:cubicBezTo>
                <a:cubicBezTo>
                  <a:pt x="9784" y="21025"/>
                  <a:pt x="8498" y="21330"/>
                  <a:pt x="7298" y="21407"/>
                </a:cubicBezTo>
                <a:cubicBezTo>
                  <a:pt x="5927" y="21483"/>
                  <a:pt x="4727" y="21330"/>
                  <a:pt x="3698" y="20872"/>
                </a:cubicBezTo>
                <a:cubicBezTo>
                  <a:pt x="2584" y="20414"/>
                  <a:pt x="1641" y="19651"/>
                  <a:pt x="1041" y="18583"/>
                </a:cubicBezTo>
                <a:cubicBezTo>
                  <a:pt x="441" y="17590"/>
                  <a:pt x="13" y="16369"/>
                  <a:pt x="13" y="14995"/>
                </a:cubicBezTo>
                <a:cubicBezTo>
                  <a:pt x="-73" y="13622"/>
                  <a:pt x="270" y="12095"/>
                  <a:pt x="870" y="10569"/>
                </a:cubicBezTo>
                <a:cubicBezTo>
                  <a:pt x="1470" y="9118"/>
                  <a:pt x="2413" y="7592"/>
                  <a:pt x="3613" y="6065"/>
                </a:cubicBezTo>
                <a:close/>
                <a:moveTo>
                  <a:pt x="19298" y="11561"/>
                </a:moveTo>
                <a:lnTo>
                  <a:pt x="19298" y="11561"/>
                </a:lnTo>
                <a:cubicBezTo>
                  <a:pt x="19813" y="10416"/>
                  <a:pt x="20241" y="9271"/>
                  <a:pt x="20413" y="8126"/>
                </a:cubicBezTo>
                <a:cubicBezTo>
                  <a:pt x="20584" y="6981"/>
                  <a:pt x="20584" y="5913"/>
                  <a:pt x="20327" y="4920"/>
                </a:cubicBezTo>
                <a:cubicBezTo>
                  <a:pt x="20070" y="3928"/>
                  <a:pt x="19556" y="3089"/>
                  <a:pt x="18870" y="2402"/>
                </a:cubicBezTo>
                <a:cubicBezTo>
                  <a:pt x="18184" y="1715"/>
                  <a:pt x="17241" y="1257"/>
                  <a:pt x="16127" y="1028"/>
                </a:cubicBezTo>
                <a:cubicBezTo>
                  <a:pt x="15013" y="799"/>
                  <a:pt x="13813" y="875"/>
                  <a:pt x="12441" y="1181"/>
                </a:cubicBezTo>
                <a:cubicBezTo>
                  <a:pt x="11070" y="1562"/>
                  <a:pt x="9613" y="2173"/>
                  <a:pt x="8241" y="3012"/>
                </a:cubicBezTo>
                <a:cubicBezTo>
                  <a:pt x="6784" y="3928"/>
                  <a:pt x="5498" y="5149"/>
                  <a:pt x="4298" y="6523"/>
                </a:cubicBezTo>
                <a:cubicBezTo>
                  <a:pt x="3184" y="7897"/>
                  <a:pt x="2241" y="9347"/>
                  <a:pt x="1727" y="10874"/>
                </a:cubicBezTo>
                <a:cubicBezTo>
                  <a:pt x="1213" y="12324"/>
                  <a:pt x="956" y="13698"/>
                  <a:pt x="956" y="14995"/>
                </a:cubicBezTo>
                <a:cubicBezTo>
                  <a:pt x="956" y="16217"/>
                  <a:pt x="1298" y="17285"/>
                  <a:pt x="1898" y="18201"/>
                </a:cubicBezTo>
                <a:cubicBezTo>
                  <a:pt x="2413" y="19041"/>
                  <a:pt x="3184" y="19728"/>
                  <a:pt x="4127" y="20109"/>
                </a:cubicBezTo>
                <a:cubicBezTo>
                  <a:pt x="5070" y="20491"/>
                  <a:pt x="6098" y="20643"/>
                  <a:pt x="7298" y="20567"/>
                </a:cubicBezTo>
                <a:cubicBezTo>
                  <a:pt x="8413" y="20491"/>
                  <a:pt x="9527" y="20186"/>
                  <a:pt x="10727" y="19728"/>
                </a:cubicBezTo>
                <a:cubicBezTo>
                  <a:pt x="11841" y="19270"/>
                  <a:pt x="13041" y="18583"/>
                  <a:pt x="14070" y="17819"/>
                </a:cubicBezTo>
                <a:cubicBezTo>
                  <a:pt x="16298" y="16140"/>
                  <a:pt x="18184" y="13927"/>
                  <a:pt x="19298" y="11561"/>
                </a:cubicBezTo>
                <a:close/>
              </a:path>
            </a:pathLst>
          </a:custGeom>
          <a:solidFill>
            <a:schemeClr val="bg2"/>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effectLst>
                  <a:outerShdw blurRad="38100" dist="12700" dir="5400000" rotWithShape="0">
                    <a:srgbClr val="000000">
                      <a:alpha val="50000"/>
                    </a:srgbClr>
                  </a:outerShdw>
                </a:effectLst>
              </a:defRPr>
            </a:pPr>
            <a:endParaRPr/>
          </a:p>
        </p:txBody>
      </p:sp>
      <p:sp>
        <p:nvSpPr>
          <p:cNvPr id="12" name="Shape">
            <a:extLst>
              <a:ext uri="{FF2B5EF4-FFF2-40B4-BE49-F238E27FC236}">
                <a16:creationId xmlns:a16="http://schemas.microsoft.com/office/drawing/2014/main" id="{C66EB98D-8CE7-3A63-3075-BE3353BDF4E9}"/>
              </a:ext>
            </a:extLst>
          </p:cNvPr>
          <p:cNvSpPr/>
          <p:nvPr/>
        </p:nvSpPr>
        <p:spPr>
          <a:xfrm rot="1800000">
            <a:off x="5207328" y="4360913"/>
            <a:ext cx="870590" cy="581494"/>
          </a:xfrm>
          <a:custGeom>
            <a:avLst/>
            <a:gdLst/>
            <a:ahLst/>
            <a:cxnLst>
              <a:cxn ang="0">
                <a:pos x="wd2" y="hd2"/>
              </a:cxn>
              <a:cxn ang="5400000">
                <a:pos x="wd2" y="hd2"/>
              </a:cxn>
              <a:cxn ang="10800000">
                <a:pos x="wd2" y="hd2"/>
              </a:cxn>
              <a:cxn ang="16200000">
                <a:pos x="wd2" y="hd2"/>
              </a:cxn>
            </a:cxnLst>
            <a:rect l="0" t="0" r="r" b="b"/>
            <a:pathLst>
              <a:path w="21476" h="21213" extrusionOk="0">
                <a:moveTo>
                  <a:pt x="10011" y="171"/>
                </a:moveTo>
                <a:cubicBezTo>
                  <a:pt x="11657" y="-133"/>
                  <a:pt x="13234" y="-32"/>
                  <a:pt x="14674" y="475"/>
                </a:cubicBezTo>
                <a:cubicBezTo>
                  <a:pt x="16114" y="881"/>
                  <a:pt x="17348" y="1591"/>
                  <a:pt x="18445" y="2605"/>
                </a:cubicBezTo>
                <a:cubicBezTo>
                  <a:pt x="19474" y="3518"/>
                  <a:pt x="20297" y="4735"/>
                  <a:pt x="20777" y="6053"/>
                </a:cubicBezTo>
                <a:cubicBezTo>
                  <a:pt x="21325" y="7371"/>
                  <a:pt x="21531" y="8791"/>
                  <a:pt x="21462" y="10312"/>
                </a:cubicBezTo>
                <a:cubicBezTo>
                  <a:pt x="21394" y="11732"/>
                  <a:pt x="21051" y="13050"/>
                  <a:pt x="20434" y="14368"/>
                </a:cubicBezTo>
                <a:cubicBezTo>
                  <a:pt x="19885" y="15585"/>
                  <a:pt x="19131" y="16599"/>
                  <a:pt x="18171" y="17613"/>
                </a:cubicBezTo>
                <a:cubicBezTo>
                  <a:pt x="17280" y="18526"/>
                  <a:pt x="16251" y="19337"/>
                  <a:pt x="15154" y="19844"/>
                </a:cubicBezTo>
                <a:lnTo>
                  <a:pt x="15154" y="19844"/>
                </a:lnTo>
                <a:cubicBezTo>
                  <a:pt x="12891" y="21061"/>
                  <a:pt x="10217" y="21467"/>
                  <a:pt x="7817" y="21061"/>
                </a:cubicBezTo>
                <a:cubicBezTo>
                  <a:pt x="6651" y="20859"/>
                  <a:pt x="5554" y="20453"/>
                  <a:pt x="4525" y="19844"/>
                </a:cubicBezTo>
                <a:cubicBezTo>
                  <a:pt x="3497" y="19236"/>
                  <a:pt x="2605" y="18425"/>
                  <a:pt x="1851" y="17411"/>
                </a:cubicBezTo>
                <a:cubicBezTo>
                  <a:pt x="1097" y="16295"/>
                  <a:pt x="548" y="15078"/>
                  <a:pt x="205" y="13760"/>
                </a:cubicBezTo>
                <a:cubicBezTo>
                  <a:pt x="-69" y="12340"/>
                  <a:pt x="-69" y="10819"/>
                  <a:pt x="205" y="9399"/>
                </a:cubicBezTo>
                <a:cubicBezTo>
                  <a:pt x="548" y="7980"/>
                  <a:pt x="1165" y="6560"/>
                  <a:pt x="1988" y="5242"/>
                </a:cubicBezTo>
                <a:cubicBezTo>
                  <a:pt x="2880" y="3923"/>
                  <a:pt x="4045" y="2808"/>
                  <a:pt x="5348" y="1997"/>
                </a:cubicBezTo>
                <a:cubicBezTo>
                  <a:pt x="6857" y="982"/>
                  <a:pt x="8365" y="475"/>
                  <a:pt x="10011" y="171"/>
                </a:cubicBezTo>
                <a:close/>
                <a:moveTo>
                  <a:pt x="14880" y="18729"/>
                </a:moveTo>
                <a:lnTo>
                  <a:pt x="14880" y="18729"/>
                </a:lnTo>
                <a:cubicBezTo>
                  <a:pt x="15908" y="18120"/>
                  <a:pt x="16868" y="17411"/>
                  <a:pt x="17760" y="16599"/>
                </a:cubicBezTo>
                <a:cubicBezTo>
                  <a:pt x="18582" y="15687"/>
                  <a:pt x="19268" y="14774"/>
                  <a:pt x="19817" y="13659"/>
                </a:cubicBezTo>
                <a:cubicBezTo>
                  <a:pt x="20365" y="12543"/>
                  <a:pt x="20640" y="11326"/>
                  <a:pt x="20708" y="10109"/>
                </a:cubicBezTo>
                <a:cubicBezTo>
                  <a:pt x="20777" y="8892"/>
                  <a:pt x="20571" y="7675"/>
                  <a:pt x="20160" y="6560"/>
                </a:cubicBezTo>
                <a:cubicBezTo>
                  <a:pt x="19680" y="5444"/>
                  <a:pt x="18994" y="4329"/>
                  <a:pt x="18034" y="3518"/>
                </a:cubicBezTo>
                <a:cubicBezTo>
                  <a:pt x="17074" y="2605"/>
                  <a:pt x="15840" y="1997"/>
                  <a:pt x="14537" y="1591"/>
                </a:cubicBezTo>
                <a:cubicBezTo>
                  <a:pt x="13097" y="1185"/>
                  <a:pt x="11657" y="1084"/>
                  <a:pt x="10080" y="1388"/>
                </a:cubicBezTo>
                <a:cubicBezTo>
                  <a:pt x="8571" y="1591"/>
                  <a:pt x="7063" y="2199"/>
                  <a:pt x="5760" y="3011"/>
                </a:cubicBezTo>
                <a:cubicBezTo>
                  <a:pt x="4525" y="3822"/>
                  <a:pt x="3497" y="4836"/>
                  <a:pt x="2605" y="6053"/>
                </a:cubicBezTo>
                <a:cubicBezTo>
                  <a:pt x="1851" y="7168"/>
                  <a:pt x="1303" y="8385"/>
                  <a:pt x="1028" y="9704"/>
                </a:cubicBezTo>
                <a:cubicBezTo>
                  <a:pt x="754" y="10921"/>
                  <a:pt x="754" y="12137"/>
                  <a:pt x="1028" y="13354"/>
                </a:cubicBezTo>
                <a:cubicBezTo>
                  <a:pt x="1303" y="14470"/>
                  <a:pt x="1714" y="15585"/>
                  <a:pt x="2400" y="16498"/>
                </a:cubicBezTo>
                <a:cubicBezTo>
                  <a:pt x="3017" y="17411"/>
                  <a:pt x="3840" y="18121"/>
                  <a:pt x="4800" y="18729"/>
                </a:cubicBezTo>
                <a:cubicBezTo>
                  <a:pt x="5760" y="19337"/>
                  <a:pt x="6788" y="19743"/>
                  <a:pt x="7885" y="19946"/>
                </a:cubicBezTo>
                <a:cubicBezTo>
                  <a:pt x="10217" y="20250"/>
                  <a:pt x="12754" y="19844"/>
                  <a:pt x="14880" y="18729"/>
                </a:cubicBezTo>
                <a:close/>
              </a:path>
            </a:pathLst>
          </a:custGeom>
          <a:solidFill>
            <a:schemeClr val="bg2"/>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effectLst>
                  <a:outerShdw blurRad="38100" dist="12700" dir="5400000" rotWithShape="0">
                    <a:srgbClr val="000000">
                      <a:alpha val="50000"/>
                    </a:srgbClr>
                  </a:outerShdw>
                </a:effectLst>
              </a:defRPr>
            </a:pPr>
            <a:endParaRPr/>
          </a:p>
        </p:txBody>
      </p:sp>
      <p:sp>
        <p:nvSpPr>
          <p:cNvPr id="13" name="Shape">
            <a:extLst>
              <a:ext uri="{FF2B5EF4-FFF2-40B4-BE49-F238E27FC236}">
                <a16:creationId xmlns:a16="http://schemas.microsoft.com/office/drawing/2014/main" id="{F41CBE49-448E-D866-BE98-FD6174091129}"/>
              </a:ext>
            </a:extLst>
          </p:cNvPr>
          <p:cNvSpPr/>
          <p:nvPr/>
        </p:nvSpPr>
        <p:spPr>
          <a:xfrm rot="1800000">
            <a:off x="6776057" y="2789994"/>
            <a:ext cx="749673" cy="722884"/>
          </a:xfrm>
          <a:custGeom>
            <a:avLst/>
            <a:gdLst/>
            <a:ahLst/>
            <a:cxnLst>
              <a:cxn ang="0">
                <a:pos x="wd2" y="hd2"/>
              </a:cxn>
              <a:cxn ang="5400000">
                <a:pos x="wd2" y="hd2"/>
              </a:cxn>
              <a:cxn ang="10800000">
                <a:pos x="wd2" y="hd2"/>
              </a:cxn>
              <a:cxn ang="16200000">
                <a:pos x="wd2" y="hd2"/>
              </a:cxn>
            </a:cxnLst>
            <a:rect l="0" t="0" r="r" b="b"/>
            <a:pathLst>
              <a:path w="21495" h="21439" extrusionOk="0">
                <a:moveTo>
                  <a:pt x="5235" y="17049"/>
                </a:moveTo>
                <a:cubicBezTo>
                  <a:pt x="3801" y="15730"/>
                  <a:pt x="2685" y="14246"/>
                  <a:pt x="1808" y="12680"/>
                </a:cubicBezTo>
                <a:cubicBezTo>
                  <a:pt x="931" y="11196"/>
                  <a:pt x="373" y="9629"/>
                  <a:pt x="134" y="8145"/>
                </a:cubicBezTo>
                <a:cubicBezTo>
                  <a:pt x="-105" y="6661"/>
                  <a:pt x="-25" y="5342"/>
                  <a:pt x="373" y="4188"/>
                </a:cubicBezTo>
                <a:cubicBezTo>
                  <a:pt x="772" y="3034"/>
                  <a:pt x="1410" y="2045"/>
                  <a:pt x="2366" y="1303"/>
                </a:cubicBezTo>
                <a:cubicBezTo>
                  <a:pt x="3243" y="643"/>
                  <a:pt x="4359" y="231"/>
                  <a:pt x="5554" y="66"/>
                </a:cubicBezTo>
                <a:cubicBezTo>
                  <a:pt x="6670" y="-99"/>
                  <a:pt x="7866" y="66"/>
                  <a:pt x="9141" y="313"/>
                </a:cubicBezTo>
                <a:cubicBezTo>
                  <a:pt x="10336" y="643"/>
                  <a:pt x="11612" y="1138"/>
                  <a:pt x="12807" y="1797"/>
                </a:cubicBezTo>
                <a:lnTo>
                  <a:pt x="12807" y="1797"/>
                </a:lnTo>
                <a:cubicBezTo>
                  <a:pt x="15278" y="3199"/>
                  <a:pt x="17510" y="5342"/>
                  <a:pt x="19104" y="7733"/>
                </a:cubicBezTo>
                <a:cubicBezTo>
                  <a:pt x="19901" y="8887"/>
                  <a:pt x="20459" y="10124"/>
                  <a:pt x="20857" y="11361"/>
                </a:cubicBezTo>
                <a:cubicBezTo>
                  <a:pt x="21256" y="12680"/>
                  <a:pt x="21495" y="13916"/>
                  <a:pt x="21495" y="15070"/>
                </a:cubicBezTo>
                <a:cubicBezTo>
                  <a:pt x="21495" y="16390"/>
                  <a:pt x="21176" y="17544"/>
                  <a:pt x="20618" y="18533"/>
                </a:cubicBezTo>
                <a:cubicBezTo>
                  <a:pt x="19981" y="19605"/>
                  <a:pt x="19104" y="20347"/>
                  <a:pt x="17988" y="20841"/>
                </a:cubicBezTo>
                <a:cubicBezTo>
                  <a:pt x="16872" y="21336"/>
                  <a:pt x="15597" y="21501"/>
                  <a:pt x="14162" y="21419"/>
                </a:cubicBezTo>
                <a:cubicBezTo>
                  <a:pt x="12727" y="21336"/>
                  <a:pt x="11213" y="20841"/>
                  <a:pt x="9699" y="20099"/>
                </a:cubicBezTo>
                <a:cubicBezTo>
                  <a:pt x="8184" y="19440"/>
                  <a:pt x="6590" y="18368"/>
                  <a:pt x="5235" y="17049"/>
                </a:cubicBezTo>
                <a:close/>
                <a:moveTo>
                  <a:pt x="12409" y="2704"/>
                </a:moveTo>
                <a:lnTo>
                  <a:pt x="12409" y="2704"/>
                </a:lnTo>
                <a:cubicBezTo>
                  <a:pt x="11293" y="2045"/>
                  <a:pt x="10097" y="1550"/>
                  <a:pt x="8981" y="1303"/>
                </a:cubicBezTo>
                <a:cubicBezTo>
                  <a:pt x="7786" y="973"/>
                  <a:pt x="6670" y="890"/>
                  <a:pt x="5713" y="1055"/>
                </a:cubicBezTo>
                <a:cubicBezTo>
                  <a:pt x="4598" y="1220"/>
                  <a:pt x="3721" y="1550"/>
                  <a:pt x="2924" y="2127"/>
                </a:cubicBezTo>
                <a:cubicBezTo>
                  <a:pt x="2127" y="2704"/>
                  <a:pt x="1569" y="3528"/>
                  <a:pt x="1250" y="4518"/>
                </a:cubicBezTo>
                <a:cubicBezTo>
                  <a:pt x="931" y="5590"/>
                  <a:pt x="852" y="6744"/>
                  <a:pt x="1091" y="8063"/>
                </a:cubicBezTo>
                <a:cubicBezTo>
                  <a:pt x="1330" y="9464"/>
                  <a:pt x="1808" y="10866"/>
                  <a:pt x="2605" y="12267"/>
                </a:cubicBezTo>
                <a:cubicBezTo>
                  <a:pt x="3482" y="13751"/>
                  <a:pt x="4518" y="15153"/>
                  <a:pt x="5873" y="16390"/>
                </a:cubicBezTo>
                <a:cubicBezTo>
                  <a:pt x="7228" y="17626"/>
                  <a:pt x="8663" y="18616"/>
                  <a:pt x="10177" y="19357"/>
                </a:cubicBezTo>
                <a:cubicBezTo>
                  <a:pt x="11612" y="20017"/>
                  <a:pt x="13046" y="20429"/>
                  <a:pt x="14322" y="20594"/>
                </a:cubicBezTo>
                <a:cubicBezTo>
                  <a:pt x="15597" y="20677"/>
                  <a:pt x="16713" y="20512"/>
                  <a:pt x="17669" y="20099"/>
                </a:cubicBezTo>
                <a:cubicBezTo>
                  <a:pt x="18626" y="19687"/>
                  <a:pt x="19343" y="19028"/>
                  <a:pt x="19821" y="18121"/>
                </a:cubicBezTo>
                <a:cubicBezTo>
                  <a:pt x="20299" y="17296"/>
                  <a:pt x="20538" y="16307"/>
                  <a:pt x="20618" y="15153"/>
                </a:cubicBezTo>
                <a:cubicBezTo>
                  <a:pt x="20618" y="14081"/>
                  <a:pt x="20459" y="12927"/>
                  <a:pt x="20060" y="11773"/>
                </a:cubicBezTo>
                <a:cubicBezTo>
                  <a:pt x="19662" y="10619"/>
                  <a:pt x="19104" y="9464"/>
                  <a:pt x="18387" y="8310"/>
                </a:cubicBezTo>
                <a:cubicBezTo>
                  <a:pt x="16952" y="6084"/>
                  <a:pt x="14800" y="4023"/>
                  <a:pt x="12409" y="2704"/>
                </a:cubicBezTo>
                <a:close/>
              </a:path>
            </a:pathLst>
          </a:custGeom>
          <a:solidFill>
            <a:schemeClr val="bg2"/>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effectLst>
                  <a:outerShdw blurRad="38100" dist="12700" dir="5400000" rotWithShape="0">
                    <a:srgbClr val="000000">
                      <a:alpha val="50000"/>
                    </a:srgbClr>
                  </a:outerShdw>
                </a:effectLst>
              </a:defRPr>
            </a:pPr>
            <a:endParaRPr/>
          </a:p>
        </p:txBody>
      </p:sp>
      <p:sp>
        <p:nvSpPr>
          <p:cNvPr id="14" name="Shape">
            <a:extLst>
              <a:ext uri="{FF2B5EF4-FFF2-40B4-BE49-F238E27FC236}">
                <a16:creationId xmlns:a16="http://schemas.microsoft.com/office/drawing/2014/main" id="{DF04CB29-F365-33C8-488C-3E5394A37E2F}"/>
              </a:ext>
            </a:extLst>
          </p:cNvPr>
          <p:cNvSpPr/>
          <p:nvPr/>
        </p:nvSpPr>
        <p:spPr>
          <a:xfrm rot="1800000">
            <a:off x="6870012" y="3618366"/>
            <a:ext cx="576528" cy="871105"/>
          </a:xfrm>
          <a:custGeom>
            <a:avLst/>
            <a:gdLst/>
            <a:ahLst/>
            <a:cxnLst>
              <a:cxn ang="0">
                <a:pos x="wd2" y="hd2"/>
              </a:cxn>
              <a:cxn ang="5400000">
                <a:pos x="wd2" y="hd2"/>
              </a:cxn>
              <a:cxn ang="10800000">
                <a:pos x="wd2" y="hd2"/>
              </a:cxn>
              <a:cxn ang="16200000">
                <a:pos x="wd2" y="hd2"/>
              </a:cxn>
            </a:cxnLst>
            <a:rect l="0" t="0" r="r" b="b"/>
            <a:pathLst>
              <a:path w="21231" h="21420" extrusionOk="0">
                <a:moveTo>
                  <a:pt x="19" y="10987"/>
                </a:moveTo>
                <a:cubicBezTo>
                  <a:pt x="-83" y="9347"/>
                  <a:pt x="224" y="7775"/>
                  <a:pt x="838" y="6339"/>
                </a:cubicBezTo>
                <a:cubicBezTo>
                  <a:pt x="1453" y="4972"/>
                  <a:pt x="2272" y="3742"/>
                  <a:pt x="3398" y="2717"/>
                </a:cubicBezTo>
                <a:cubicBezTo>
                  <a:pt x="4524" y="1691"/>
                  <a:pt x="5752" y="1008"/>
                  <a:pt x="7083" y="529"/>
                </a:cubicBezTo>
                <a:cubicBezTo>
                  <a:pt x="8516" y="51"/>
                  <a:pt x="9949" y="-86"/>
                  <a:pt x="11485" y="51"/>
                </a:cubicBezTo>
                <a:cubicBezTo>
                  <a:pt x="12918" y="187"/>
                  <a:pt x="14249" y="598"/>
                  <a:pt x="15477" y="1281"/>
                </a:cubicBezTo>
                <a:cubicBezTo>
                  <a:pt x="16603" y="1896"/>
                  <a:pt x="17627" y="2717"/>
                  <a:pt x="18446" y="3673"/>
                </a:cubicBezTo>
                <a:cubicBezTo>
                  <a:pt x="19265" y="4630"/>
                  <a:pt x="19981" y="5656"/>
                  <a:pt x="20391" y="6818"/>
                </a:cubicBezTo>
                <a:lnTo>
                  <a:pt x="20391" y="6818"/>
                </a:lnTo>
                <a:cubicBezTo>
                  <a:pt x="21312" y="9142"/>
                  <a:pt x="21517" y="11808"/>
                  <a:pt x="20800" y="14132"/>
                </a:cubicBezTo>
                <a:cubicBezTo>
                  <a:pt x="20493" y="15294"/>
                  <a:pt x="19879" y="16387"/>
                  <a:pt x="19163" y="17344"/>
                </a:cubicBezTo>
                <a:cubicBezTo>
                  <a:pt x="18446" y="18370"/>
                  <a:pt x="17525" y="19190"/>
                  <a:pt x="16399" y="19873"/>
                </a:cubicBezTo>
                <a:cubicBezTo>
                  <a:pt x="15273" y="20625"/>
                  <a:pt x="13942" y="21104"/>
                  <a:pt x="12509" y="21309"/>
                </a:cubicBezTo>
                <a:cubicBezTo>
                  <a:pt x="11075" y="21514"/>
                  <a:pt x="9540" y="21446"/>
                  <a:pt x="8107" y="21036"/>
                </a:cubicBezTo>
                <a:cubicBezTo>
                  <a:pt x="6673" y="20625"/>
                  <a:pt x="5343" y="19942"/>
                  <a:pt x="4114" y="19053"/>
                </a:cubicBezTo>
                <a:cubicBezTo>
                  <a:pt x="2886" y="18096"/>
                  <a:pt x="1965" y="16934"/>
                  <a:pt x="1248" y="15567"/>
                </a:cubicBezTo>
                <a:cubicBezTo>
                  <a:pt x="531" y="14132"/>
                  <a:pt x="122" y="12628"/>
                  <a:pt x="19" y="10987"/>
                </a:cubicBezTo>
                <a:close/>
                <a:moveTo>
                  <a:pt x="19265" y="7023"/>
                </a:moveTo>
                <a:lnTo>
                  <a:pt x="19265" y="7023"/>
                </a:lnTo>
                <a:cubicBezTo>
                  <a:pt x="18855" y="5929"/>
                  <a:pt x="18241" y="4972"/>
                  <a:pt x="17422" y="4084"/>
                </a:cubicBezTo>
                <a:cubicBezTo>
                  <a:pt x="16603" y="3195"/>
                  <a:pt x="15682" y="2443"/>
                  <a:pt x="14658" y="1896"/>
                </a:cubicBezTo>
                <a:cubicBezTo>
                  <a:pt x="13532" y="1281"/>
                  <a:pt x="12406" y="939"/>
                  <a:pt x="11178" y="803"/>
                </a:cubicBezTo>
                <a:cubicBezTo>
                  <a:pt x="9949" y="666"/>
                  <a:pt x="8721" y="803"/>
                  <a:pt x="7492" y="1213"/>
                </a:cubicBezTo>
                <a:cubicBezTo>
                  <a:pt x="6264" y="1623"/>
                  <a:pt x="5138" y="2238"/>
                  <a:pt x="4217" y="3127"/>
                </a:cubicBezTo>
                <a:cubicBezTo>
                  <a:pt x="3193" y="4084"/>
                  <a:pt x="2374" y="5177"/>
                  <a:pt x="1862" y="6476"/>
                </a:cubicBezTo>
                <a:cubicBezTo>
                  <a:pt x="1248" y="7843"/>
                  <a:pt x="1043" y="9347"/>
                  <a:pt x="1146" y="10919"/>
                </a:cubicBezTo>
                <a:cubicBezTo>
                  <a:pt x="1248" y="12491"/>
                  <a:pt x="1657" y="13927"/>
                  <a:pt x="2374" y="15294"/>
                </a:cubicBezTo>
                <a:cubicBezTo>
                  <a:pt x="3090" y="16592"/>
                  <a:pt x="4012" y="17686"/>
                  <a:pt x="5035" y="18575"/>
                </a:cubicBezTo>
                <a:cubicBezTo>
                  <a:pt x="6059" y="19395"/>
                  <a:pt x="7288" y="20010"/>
                  <a:pt x="8516" y="20352"/>
                </a:cubicBezTo>
                <a:cubicBezTo>
                  <a:pt x="9744" y="20694"/>
                  <a:pt x="10973" y="20762"/>
                  <a:pt x="12201" y="20557"/>
                </a:cubicBezTo>
                <a:cubicBezTo>
                  <a:pt x="13430" y="20352"/>
                  <a:pt x="14556" y="19942"/>
                  <a:pt x="15477" y="19327"/>
                </a:cubicBezTo>
                <a:cubicBezTo>
                  <a:pt x="16398" y="18711"/>
                  <a:pt x="17320" y="17960"/>
                  <a:pt x="17934" y="17003"/>
                </a:cubicBezTo>
                <a:cubicBezTo>
                  <a:pt x="18650" y="16114"/>
                  <a:pt x="19162" y="15089"/>
                  <a:pt x="19469" y="13995"/>
                </a:cubicBezTo>
                <a:cubicBezTo>
                  <a:pt x="20288" y="11739"/>
                  <a:pt x="20186" y="9210"/>
                  <a:pt x="19265" y="7023"/>
                </a:cubicBezTo>
                <a:close/>
              </a:path>
            </a:pathLst>
          </a:custGeom>
          <a:solidFill>
            <a:schemeClr val="bg2"/>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effectLst>
                  <a:outerShdw blurRad="38100" dist="12700" dir="5400000" rotWithShape="0">
                    <a:srgbClr val="000000">
                      <a:alpha val="50000"/>
                    </a:srgbClr>
                  </a:outerShdw>
                </a:effectLst>
              </a:defRPr>
            </a:pPr>
            <a:endParaRPr/>
          </a:p>
        </p:txBody>
      </p:sp>
      <p:grpSp>
        <p:nvGrpSpPr>
          <p:cNvPr id="15" name="Group 14">
            <a:extLst>
              <a:ext uri="{FF2B5EF4-FFF2-40B4-BE49-F238E27FC236}">
                <a16:creationId xmlns:a16="http://schemas.microsoft.com/office/drawing/2014/main" id="{54028673-E1E5-33F9-66A3-C42ADCBA8F51}"/>
              </a:ext>
            </a:extLst>
          </p:cNvPr>
          <p:cNvGrpSpPr/>
          <p:nvPr/>
        </p:nvGrpSpPr>
        <p:grpSpPr>
          <a:xfrm>
            <a:off x="4693472" y="1366872"/>
            <a:ext cx="1323304" cy="1388740"/>
            <a:chOff x="4693472" y="1366872"/>
            <a:chExt cx="1323304" cy="1388740"/>
          </a:xfrm>
        </p:grpSpPr>
        <p:sp>
          <p:nvSpPr>
            <p:cNvPr id="16" name="Oval">
              <a:extLst>
                <a:ext uri="{FF2B5EF4-FFF2-40B4-BE49-F238E27FC236}">
                  <a16:creationId xmlns:a16="http://schemas.microsoft.com/office/drawing/2014/main" id="{516F82DF-4116-4F55-ABF0-2512CF0E114F}"/>
                </a:ext>
              </a:extLst>
            </p:cNvPr>
            <p:cNvSpPr/>
            <p:nvPr/>
          </p:nvSpPr>
          <p:spPr>
            <a:xfrm rot="9000000">
              <a:off x="4693472" y="1366872"/>
              <a:ext cx="1009601" cy="659785"/>
            </a:xfrm>
            <a:prstGeom prst="ellipse">
              <a:avLst/>
            </a:prstGeom>
            <a:solidFill>
              <a:schemeClr val="tx1">
                <a:lumMod val="50000"/>
                <a:lumOff val="50000"/>
              </a:schemeClr>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effectLst>
                    <a:outerShdw blurRad="38100" dist="12700" dir="5400000" rotWithShape="0">
                      <a:srgbClr val="000000">
                        <a:alpha val="50000"/>
                      </a:srgbClr>
                    </a:outerShdw>
                  </a:effectLst>
                </a:defRPr>
              </a:pPr>
              <a:endParaRPr/>
            </a:p>
          </p:txBody>
        </p:sp>
        <p:sp>
          <p:nvSpPr>
            <p:cNvPr id="17" name="Shape">
              <a:extLst>
                <a:ext uri="{FF2B5EF4-FFF2-40B4-BE49-F238E27FC236}">
                  <a16:creationId xmlns:a16="http://schemas.microsoft.com/office/drawing/2014/main" id="{958DB2CA-A289-6940-ADAA-9D67F9692C8B}"/>
                </a:ext>
              </a:extLst>
            </p:cNvPr>
            <p:cNvSpPr/>
            <p:nvPr/>
          </p:nvSpPr>
          <p:spPr>
            <a:xfrm rot="9000000">
              <a:off x="5038170" y="1778303"/>
              <a:ext cx="978606" cy="977309"/>
            </a:xfrm>
            <a:custGeom>
              <a:avLst/>
              <a:gdLst/>
              <a:ahLst/>
              <a:cxnLst>
                <a:cxn ang="0">
                  <a:pos x="wd2" y="hd2"/>
                </a:cxn>
                <a:cxn ang="5400000">
                  <a:pos x="wd2" y="hd2"/>
                </a:cxn>
                <a:cxn ang="10800000">
                  <a:pos x="wd2" y="hd2"/>
                </a:cxn>
                <a:cxn ang="16200000">
                  <a:pos x="wd2" y="hd2"/>
                </a:cxn>
              </a:cxnLst>
              <a:rect l="0" t="0" r="r" b="b"/>
              <a:pathLst>
                <a:path w="21600" h="21571" extrusionOk="0">
                  <a:moveTo>
                    <a:pt x="98" y="21453"/>
                  </a:moveTo>
                  <a:cubicBezTo>
                    <a:pt x="1955" y="18717"/>
                    <a:pt x="6060" y="16811"/>
                    <a:pt x="10800" y="16811"/>
                  </a:cubicBezTo>
                  <a:cubicBezTo>
                    <a:pt x="15589" y="16811"/>
                    <a:pt x="19694" y="18766"/>
                    <a:pt x="21551" y="21551"/>
                  </a:cubicBezTo>
                  <a:cubicBezTo>
                    <a:pt x="21551" y="21600"/>
                    <a:pt x="21600" y="21551"/>
                    <a:pt x="21600" y="21502"/>
                  </a:cubicBezTo>
                  <a:lnTo>
                    <a:pt x="18375" y="5669"/>
                  </a:lnTo>
                  <a:cubicBezTo>
                    <a:pt x="17739" y="2688"/>
                    <a:pt x="15003" y="0"/>
                    <a:pt x="10800" y="0"/>
                  </a:cubicBezTo>
                  <a:cubicBezTo>
                    <a:pt x="6597" y="0"/>
                    <a:pt x="3763" y="2639"/>
                    <a:pt x="3225" y="5669"/>
                  </a:cubicBezTo>
                  <a:lnTo>
                    <a:pt x="0" y="21405"/>
                  </a:lnTo>
                  <a:cubicBezTo>
                    <a:pt x="0" y="21502"/>
                    <a:pt x="49" y="21502"/>
                    <a:pt x="98" y="21453"/>
                  </a:cubicBezTo>
                  <a:close/>
                </a:path>
              </a:pathLst>
            </a:custGeom>
            <a:solidFill>
              <a:schemeClr val="tx1"/>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effectLst>
                    <a:outerShdw blurRad="38100" dist="12700" dir="5400000" rotWithShape="0">
                      <a:srgbClr val="000000">
                        <a:alpha val="50000"/>
                      </a:srgbClr>
                    </a:outerShdw>
                  </a:effectLst>
                </a:defRPr>
              </a:pPr>
              <a:endParaRPr/>
            </a:p>
          </p:txBody>
        </p:sp>
      </p:grpSp>
      <p:grpSp>
        <p:nvGrpSpPr>
          <p:cNvPr id="18" name="Group 17">
            <a:extLst>
              <a:ext uri="{FF2B5EF4-FFF2-40B4-BE49-F238E27FC236}">
                <a16:creationId xmlns:a16="http://schemas.microsoft.com/office/drawing/2014/main" id="{716EDA9F-10A1-3844-C4ED-4EED713474B5}"/>
              </a:ext>
            </a:extLst>
          </p:cNvPr>
          <p:cNvGrpSpPr/>
          <p:nvPr/>
        </p:nvGrpSpPr>
        <p:grpSpPr>
          <a:xfrm>
            <a:off x="4693472" y="4445438"/>
            <a:ext cx="1323305" cy="1388739"/>
            <a:chOff x="4693472" y="4445438"/>
            <a:chExt cx="1323305" cy="1388739"/>
          </a:xfrm>
        </p:grpSpPr>
        <p:sp>
          <p:nvSpPr>
            <p:cNvPr id="19" name="Oval">
              <a:extLst>
                <a:ext uri="{FF2B5EF4-FFF2-40B4-BE49-F238E27FC236}">
                  <a16:creationId xmlns:a16="http://schemas.microsoft.com/office/drawing/2014/main" id="{F262CEA0-3E66-77E4-A83A-C68265EA7CC1}"/>
                </a:ext>
              </a:extLst>
            </p:cNvPr>
            <p:cNvSpPr/>
            <p:nvPr/>
          </p:nvSpPr>
          <p:spPr>
            <a:xfrm rot="1800000">
              <a:off x="4693472" y="5174392"/>
              <a:ext cx="1009601" cy="659785"/>
            </a:xfrm>
            <a:prstGeom prst="ellipse">
              <a:avLst/>
            </a:prstGeom>
            <a:solidFill>
              <a:schemeClr val="accent1"/>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effectLst>
                    <a:outerShdw blurRad="38100" dist="12700" dir="5400000" rotWithShape="0">
                      <a:srgbClr val="000000">
                        <a:alpha val="50000"/>
                      </a:srgbClr>
                    </a:outerShdw>
                  </a:effectLst>
                </a:defRPr>
              </a:pPr>
              <a:endParaRPr/>
            </a:p>
          </p:txBody>
        </p:sp>
        <p:sp>
          <p:nvSpPr>
            <p:cNvPr id="20" name="Shape">
              <a:extLst>
                <a:ext uri="{FF2B5EF4-FFF2-40B4-BE49-F238E27FC236}">
                  <a16:creationId xmlns:a16="http://schemas.microsoft.com/office/drawing/2014/main" id="{65FCD6F3-29BC-CFEC-3F47-E3A62114F9C1}"/>
                </a:ext>
              </a:extLst>
            </p:cNvPr>
            <p:cNvSpPr/>
            <p:nvPr/>
          </p:nvSpPr>
          <p:spPr>
            <a:xfrm rot="1800000">
              <a:off x="5038171" y="4445438"/>
              <a:ext cx="978606" cy="977309"/>
            </a:xfrm>
            <a:custGeom>
              <a:avLst/>
              <a:gdLst/>
              <a:ahLst/>
              <a:cxnLst>
                <a:cxn ang="0">
                  <a:pos x="wd2" y="hd2"/>
                </a:cxn>
                <a:cxn ang="5400000">
                  <a:pos x="wd2" y="hd2"/>
                </a:cxn>
                <a:cxn ang="10800000">
                  <a:pos x="wd2" y="hd2"/>
                </a:cxn>
                <a:cxn ang="16200000">
                  <a:pos x="wd2" y="hd2"/>
                </a:cxn>
              </a:cxnLst>
              <a:rect l="0" t="0" r="r" b="b"/>
              <a:pathLst>
                <a:path w="21600" h="21571" extrusionOk="0">
                  <a:moveTo>
                    <a:pt x="98" y="21453"/>
                  </a:moveTo>
                  <a:cubicBezTo>
                    <a:pt x="1955" y="18717"/>
                    <a:pt x="6060" y="16811"/>
                    <a:pt x="10800" y="16811"/>
                  </a:cubicBezTo>
                  <a:cubicBezTo>
                    <a:pt x="15589" y="16811"/>
                    <a:pt x="19694" y="18766"/>
                    <a:pt x="21551" y="21551"/>
                  </a:cubicBezTo>
                  <a:cubicBezTo>
                    <a:pt x="21551" y="21600"/>
                    <a:pt x="21600" y="21551"/>
                    <a:pt x="21600" y="21502"/>
                  </a:cubicBezTo>
                  <a:lnTo>
                    <a:pt x="18375" y="5669"/>
                  </a:lnTo>
                  <a:cubicBezTo>
                    <a:pt x="17739" y="2688"/>
                    <a:pt x="15003" y="0"/>
                    <a:pt x="10800" y="0"/>
                  </a:cubicBezTo>
                  <a:cubicBezTo>
                    <a:pt x="6597" y="0"/>
                    <a:pt x="3763" y="2639"/>
                    <a:pt x="3225" y="5669"/>
                  </a:cubicBezTo>
                  <a:lnTo>
                    <a:pt x="0" y="21405"/>
                  </a:lnTo>
                  <a:cubicBezTo>
                    <a:pt x="0" y="21502"/>
                    <a:pt x="49" y="21502"/>
                    <a:pt x="98" y="21453"/>
                  </a:cubicBezTo>
                  <a:close/>
                </a:path>
              </a:pathLst>
            </a:custGeom>
            <a:solidFill>
              <a:schemeClr val="accent1">
                <a:lumMod val="75000"/>
              </a:schemeClr>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effectLst>
                    <a:outerShdw blurRad="38100" dist="12700" dir="5400000" rotWithShape="0">
                      <a:srgbClr val="000000">
                        <a:alpha val="50000"/>
                      </a:srgbClr>
                    </a:outerShdw>
                  </a:effectLst>
                </a:defRPr>
              </a:pPr>
              <a:endParaRPr/>
            </a:p>
          </p:txBody>
        </p:sp>
      </p:grpSp>
      <p:grpSp>
        <p:nvGrpSpPr>
          <p:cNvPr id="21" name="Group 20">
            <a:extLst>
              <a:ext uri="{FF2B5EF4-FFF2-40B4-BE49-F238E27FC236}">
                <a16:creationId xmlns:a16="http://schemas.microsoft.com/office/drawing/2014/main" id="{D4BA0E02-6737-FEE5-5131-14AFB4F020C8}"/>
              </a:ext>
            </a:extLst>
          </p:cNvPr>
          <p:cNvGrpSpPr/>
          <p:nvPr/>
        </p:nvGrpSpPr>
        <p:grpSpPr>
          <a:xfrm>
            <a:off x="6181636" y="4445437"/>
            <a:ext cx="1323304" cy="1388740"/>
            <a:chOff x="6181636" y="4445437"/>
            <a:chExt cx="1323304" cy="1388740"/>
          </a:xfrm>
        </p:grpSpPr>
        <p:sp>
          <p:nvSpPr>
            <p:cNvPr id="22" name="Oval">
              <a:extLst>
                <a:ext uri="{FF2B5EF4-FFF2-40B4-BE49-F238E27FC236}">
                  <a16:creationId xmlns:a16="http://schemas.microsoft.com/office/drawing/2014/main" id="{06314F61-77C3-4F5D-8CB3-77090DE369B3}"/>
                </a:ext>
              </a:extLst>
            </p:cNvPr>
            <p:cNvSpPr/>
            <p:nvPr/>
          </p:nvSpPr>
          <p:spPr>
            <a:xfrm rot="19800000">
              <a:off x="6495339" y="5174392"/>
              <a:ext cx="1009601" cy="659785"/>
            </a:xfrm>
            <a:prstGeom prst="ellipse">
              <a:avLst/>
            </a:prstGeom>
            <a:solidFill>
              <a:schemeClr val="accent4"/>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effectLst>
                    <a:outerShdw blurRad="38100" dist="12700" dir="5400000" rotWithShape="0">
                      <a:srgbClr val="000000">
                        <a:alpha val="50000"/>
                      </a:srgbClr>
                    </a:outerShdw>
                  </a:effectLst>
                </a:defRPr>
              </a:pPr>
              <a:endParaRPr/>
            </a:p>
          </p:txBody>
        </p:sp>
        <p:sp>
          <p:nvSpPr>
            <p:cNvPr id="23" name="Shape">
              <a:extLst>
                <a:ext uri="{FF2B5EF4-FFF2-40B4-BE49-F238E27FC236}">
                  <a16:creationId xmlns:a16="http://schemas.microsoft.com/office/drawing/2014/main" id="{B8734643-26F0-528F-21B1-7C698EF7AC90}"/>
                </a:ext>
              </a:extLst>
            </p:cNvPr>
            <p:cNvSpPr/>
            <p:nvPr/>
          </p:nvSpPr>
          <p:spPr>
            <a:xfrm rot="19800000">
              <a:off x="6181636" y="4445437"/>
              <a:ext cx="978606" cy="977309"/>
            </a:xfrm>
            <a:custGeom>
              <a:avLst/>
              <a:gdLst/>
              <a:ahLst/>
              <a:cxnLst>
                <a:cxn ang="0">
                  <a:pos x="wd2" y="hd2"/>
                </a:cxn>
                <a:cxn ang="5400000">
                  <a:pos x="wd2" y="hd2"/>
                </a:cxn>
                <a:cxn ang="10800000">
                  <a:pos x="wd2" y="hd2"/>
                </a:cxn>
                <a:cxn ang="16200000">
                  <a:pos x="wd2" y="hd2"/>
                </a:cxn>
              </a:cxnLst>
              <a:rect l="0" t="0" r="r" b="b"/>
              <a:pathLst>
                <a:path w="21600" h="21571" extrusionOk="0">
                  <a:moveTo>
                    <a:pt x="98" y="21453"/>
                  </a:moveTo>
                  <a:cubicBezTo>
                    <a:pt x="1955" y="18717"/>
                    <a:pt x="6060" y="16811"/>
                    <a:pt x="10800" y="16811"/>
                  </a:cubicBezTo>
                  <a:cubicBezTo>
                    <a:pt x="15589" y="16811"/>
                    <a:pt x="19694" y="18766"/>
                    <a:pt x="21551" y="21551"/>
                  </a:cubicBezTo>
                  <a:cubicBezTo>
                    <a:pt x="21551" y="21600"/>
                    <a:pt x="21600" y="21551"/>
                    <a:pt x="21600" y="21502"/>
                  </a:cubicBezTo>
                  <a:lnTo>
                    <a:pt x="18375" y="5669"/>
                  </a:lnTo>
                  <a:cubicBezTo>
                    <a:pt x="17739" y="2688"/>
                    <a:pt x="15003" y="0"/>
                    <a:pt x="10800" y="0"/>
                  </a:cubicBezTo>
                  <a:cubicBezTo>
                    <a:pt x="6597" y="0"/>
                    <a:pt x="3763" y="2639"/>
                    <a:pt x="3225" y="5669"/>
                  </a:cubicBezTo>
                  <a:lnTo>
                    <a:pt x="0" y="21405"/>
                  </a:lnTo>
                  <a:cubicBezTo>
                    <a:pt x="0" y="21502"/>
                    <a:pt x="49" y="21502"/>
                    <a:pt x="98" y="21453"/>
                  </a:cubicBezTo>
                  <a:close/>
                </a:path>
              </a:pathLst>
            </a:custGeom>
            <a:solidFill>
              <a:schemeClr val="accent4">
                <a:lumMod val="75000"/>
              </a:schemeClr>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effectLst>
                    <a:outerShdw blurRad="38100" dist="12700" dir="5400000" rotWithShape="0">
                      <a:srgbClr val="000000">
                        <a:alpha val="50000"/>
                      </a:srgbClr>
                    </a:outerShdw>
                  </a:effectLst>
                </a:defRPr>
              </a:pPr>
              <a:endParaRPr/>
            </a:p>
          </p:txBody>
        </p:sp>
      </p:grpSp>
      <p:grpSp>
        <p:nvGrpSpPr>
          <p:cNvPr id="24" name="Group 23">
            <a:extLst>
              <a:ext uri="{FF2B5EF4-FFF2-40B4-BE49-F238E27FC236}">
                <a16:creationId xmlns:a16="http://schemas.microsoft.com/office/drawing/2014/main" id="{DA9C724A-36E5-FE8E-5C99-FC0524E7D68A}"/>
              </a:ext>
            </a:extLst>
          </p:cNvPr>
          <p:cNvGrpSpPr/>
          <p:nvPr/>
        </p:nvGrpSpPr>
        <p:grpSpPr>
          <a:xfrm>
            <a:off x="6181635" y="1366872"/>
            <a:ext cx="1323305" cy="1388739"/>
            <a:chOff x="6181635" y="1366872"/>
            <a:chExt cx="1323305" cy="1388739"/>
          </a:xfrm>
        </p:grpSpPr>
        <p:sp>
          <p:nvSpPr>
            <p:cNvPr id="25" name="Oval">
              <a:extLst>
                <a:ext uri="{FF2B5EF4-FFF2-40B4-BE49-F238E27FC236}">
                  <a16:creationId xmlns:a16="http://schemas.microsoft.com/office/drawing/2014/main" id="{9ED02185-2F84-D1D6-880D-B262DFAED70F}"/>
                </a:ext>
              </a:extLst>
            </p:cNvPr>
            <p:cNvSpPr/>
            <p:nvPr/>
          </p:nvSpPr>
          <p:spPr>
            <a:xfrm rot="12600000">
              <a:off x="6495339" y="1366872"/>
              <a:ext cx="1009601" cy="659785"/>
            </a:xfrm>
            <a:prstGeom prst="ellipse">
              <a:avLst/>
            </a:prstGeom>
            <a:solidFill>
              <a:schemeClr val="accent2"/>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effectLst>
                    <a:outerShdw blurRad="38100" dist="12700" dir="5400000" rotWithShape="0">
                      <a:srgbClr val="000000">
                        <a:alpha val="50000"/>
                      </a:srgbClr>
                    </a:outerShdw>
                  </a:effectLst>
                </a:defRPr>
              </a:pPr>
              <a:endParaRPr/>
            </a:p>
          </p:txBody>
        </p:sp>
        <p:sp>
          <p:nvSpPr>
            <p:cNvPr id="26" name="Shape">
              <a:extLst>
                <a:ext uri="{FF2B5EF4-FFF2-40B4-BE49-F238E27FC236}">
                  <a16:creationId xmlns:a16="http://schemas.microsoft.com/office/drawing/2014/main" id="{9F49B776-4EA1-3499-3E11-28B958D6728A}"/>
                </a:ext>
              </a:extLst>
            </p:cNvPr>
            <p:cNvSpPr/>
            <p:nvPr/>
          </p:nvSpPr>
          <p:spPr>
            <a:xfrm rot="12600000">
              <a:off x="6181635" y="1778302"/>
              <a:ext cx="978606" cy="977309"/>
            </a:xfrm>
            <a:custGeom>
              <a:avLst/>
              <a:gdLst/>
              <a:ahLst/>
              <a:cxnLst>
                <a:cxn ang="0">
                  <a:pos x="wd2" y="hd2"/>
                </a:cxn>
                <a:cxn ang="5400000">
                  <a:pos x="wd2" y="hd2"/>
                </a:cxn>
                <a:cxn ang="10800000">
                  <a:pos x="wd2" y="hd2"/>
                </a:cxn>
                <a:cxn ang="16200000">
                  <a:pos x="wd2" y="hd2"/>
                </a:cxn>
              </a:cxnLst>
              <a:rect l="0" t="0" r="r" b="b"/>
              <a:pathLst>
                <a:path w="21600" h="21571" extrusionOk="0">
                  <a:moveTo>
                    <a:pt x="98" y="21453"/>
                  </a:moveTo>
                  <a:cubicBezTo>
                    <a:pt x="1955" y="18717"/>
                    <a:pt x="6060" y="16811"/>
                    <a:pt x="10800" y="16811"/>
                  </a:cubicBezTo>
                  <a:cubicBezTo>
                    <a:pt x="15589" y="16811"/>
                    <a:pt x="19694" y="18766"/>
                    <a:pt x="21551" y="21551"/>
                  </a:cubicBezTo>
                  <a:cubicBezTo>
                    <a:pt x="21551" y="21600"/>
                    <a:pt x="21600" y="21551"/>
                    <a:pt x="21600" y="21502"/>
                  </a:cubicBezTo>
                  <a:lnTo>
                    <a:pt x="18375" y="5669"/>
                  </a:lnTo>
                  <a:cubicBezTo>
                    <a:pt x="17739" y="2688"/>
                    <a:pt x="15003" y="0"/>
                    <a:pt x="10800" y="0"/>
                  </a:cubicBezTo>
                  <a:cubicBezTo>
                    <a:pt x="6597" y="0"/>
                    <a:pt x="3763" y="2639"/>
                    <a:pt x="3225" y="5669"/>
                  </a:cubicBezTo>
                  <a:lnTo>
                    <a:pt x="0" y="21405"/>
                  </a:lnTo>
                  <a:cubicBezTo>
                    <a:pt x="0" y="21502"/>
                    <a:pt x="49" y="21502"/>
                    <a:pt x="98" y="21453"/>
                  </a:cubicBezTo>
                  <a:close/>
                </a:path>
              </a:pathLst>
            </a:custGeom>
            <a:solidFill>
              <a:schemeClr val="accent2">
                <a:lumMod val="75000"/>
              </a:schemeClr>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effectLst>
                    <a:outerShdw blurRad="38100" dist="12700" dir="5400000" rotWithShape="0">
                      <a:srgbClr val="000000">
                        <a:alpha val="50000"/>
                      </a:srgbClr>
                    </a:outerShdw>
                  </a:effectLst>
                </a:defRPr>
              </a:pPr>
              <a:endParaRPr/>
            </a:p>
          </p:txBody>
        </p:sp>
      </p:grpSp>
      <p:pic>
        <p:nvPicPr>
          <p:cNvPr id="27" name="Graphic 68" descr="Trophy">
            <a:extLst>
              <a:ext uri="{FF2B5EF4-FFF2-40B4-BE49-F238E27FC236}">
                <a16:creationId xmlns:a16="http://schemas.microsoft.com/office/drawing/2014/main" id="{502386D1-0CAD-8C32-E487-EED9E4BE72E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496263" y="2999948"/>
            <a:ext cx="1199475" cy="1199475"/>
          </a:xfrm>
          <a:prstGeom prst="rect">
            <a:avLst/>
          </a:prstGeom>
        </p:spPr>
      </p:pic>
      <p:pic>
        <p:nvPicPr>
          <p:cNvPr id="28" name="Graphic 63" descr="Brainstorm with solid fill">
            <a:extLst>
              <a:ext uri="{FF2B5EF4-FFF2-40B4-BE49-F238E27FC236}">
                <a16:creationId xmlns:a16="http://schemas.microsoft.com/office/drawing/2014/main" id="{0C8125FF-A84F-C8FC-BA94-A5AE985DDE20}"/>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005603" y="1504095"/>
            <a:ext cx="385338" cy="385338"/>
          </a:xfrm>
          <a:prstGeom prst="rect">
            <a:avLst/>
          </a:prstGeom>
          <a:effectLst>
            <a:outerShdw blurRad="50800" dist="38100" dir="2700000" algn="tl" rotWithShape="0">
              <a:prstClr val="black">
                <a:alpha val="40000"/>
              </a:prstClr>
            </a:outerShdw>
          </a:effectLst>
        </p:spPr>
      </p:pic>
      <p:grpSp>
        <p:nvGrpSpPr>
          <p:cNvPr id="29" name="Group 28">
            <a:extLst>
              <a:ext uri="{FF2B5EF4-FFF2-40B4-BE49-F238E27FC236}">
                <a16:creationId xmlns:a16="http://schemas.microsoft.com/office/drawing/2014/main" id="{2EBD2855-615F-E443-31C3-4B6F0F4A0B60}"/>
              </a:ext>
            </a:extLst>
          </p:cNvPr>
          <p:cNvGrpSpPr/>
          <p:nvPr/>
        </p:nvGrpSpPr>
        <p:grpSpPr>
          <a:xfrm>
            <a:off x="3774446" y="2385059"/>
            <a:ext cx="1454514" cy="1164512"/>
            <a:chOff x="3774446" y="2385059"/>
            <a:chExt cx="1454514" cy="1164512"/>
          </a:xfrm>
        </p:grpSpPr>
        <p:sp>
          <p:nvSpPr>
            <p:cNvPr id="30" name="Oval">
              <a:extLst>
                <a:ext uri="{FF2B5EF4-FFF2-40B4-BE49-F238E27FC236}">
                  <a16:creationId xmlns:a16="http://schemas.microsoft.com/office/drawing/2014/main" id="{6E1E8624-5A93-98D7-E273-79887688AA4A}"/>
                </a:ext>
              </a:extLst>
            </p:cNvPr>
            <p:cNvSpPr/>
            <p:nvPr/>
          </p:nvSpPr>
          <p:spPr>
            <a:xfrm rot="6300000">
              <a:off x="3599538" y="2559967"/>
              <a:ext cx="1009601" cy="659785"/>
            </a:xfrm>
            <a:prstGeom prst="ellipse">
              <a:avLst/>
            </a:prstGeom>
            <a:solidFill>
              <a:srgbClr val="7030A0"/>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effectLst>
                    <a:outerShdw blurRad="38100" dist="12700" dir="5400000" rotWithShape="0">
                      <a:srgbClr val="000000">
                        <a:alpha val="50000"/>
                      </a:srgbClr>
                    </a:outerShdw>
                  </a:effectLst>
                </a:defRPr>
              </a:pPr>
              <a:endParaRPr/>
            </a:p>
          </p:txBody>
        </p:sp>
        <p:sp>
          <p:nvSpPr>
            <p:cNvPr id="31" name="Shape">
              <a:extLst>
                <a:ext uri="{FF2B5EF4-FFF2-40B4-BE49-F238E27FC236}">
                  <a16:creationId xmlns:a16="http://schemas.microsoft.com/office/drawing/2014/main" id="{42F5AA17-640F-F252-73B1-E6C7598CF66F}"/>
                </a:ext>
              </a:extLst>
            </p:cNvPr>
            <p:cNvSpPr/>
            <p:nvPr/>
          </p:nvSpPr>
          <p:spPr>
            <a:xfrm rot="6300000">
              <a:off x="4251003" y="2571613"/>
              <a:ext cx="978606" cy="977309"/>
            </a:xfrm>
            <a:custGeom>
              <a:avLst/>
              <a:gdLst/>
              <a:ahLst/>
              <a:cxnLst>
                <a:cxn ang="0">
                  <a:pos x="wd2" y="hd2"/>
                </a:cxn>
                <a:cxn ang="5400000">
                  <a:pos x="wd2" y="hd2"/>
                </a:cxn>
                <a:cxn ang="10800000">
                  <a:pos x="wd2" y="hd2"/>
                </a:cxn>
                <a:cxn ang="16200000">
                  <a:pos x="wd2" y="hd2"/>
                </a:cxn>
              </a:cxnLst>
              <a:rect l="0" t="0" r="r" b="b"/>
              <a:pathLst>
                <a:path w="21600" h="21571" extrusionOk="0">
                  <a:moveTo>
                    <a:pt x="98" y="21453"/>
                  </a:moveTo>
                  <a:cubicBezTo>
                    <a:pt x="1955" y="18717"/>
                    <a:pt x="6060" y="16811"/>
                    <a:pt x="10800" y="16811"/>
                  </a:cubicBezTo>
                  <a:cubicBezTo>
                    <a:pt x="15589" y="16811"/>
                    <a:pt x="19694" y="18766"/>
                    <a:pt x="21551" y="21551"/>
                  </a:cubicBezTo>
                  <a:cubicBezTo>
                    <a:pt x="21551" y="21600"/>
                    <a:pt x="21600" y="21551"/>
                    <a:pt x="21600" y="21502"/>
                  </a:cubicBezTo>
                  <a:lnTo>
                    <a:pt x="18375" y="5669"/>
                  </a:lnTo>
                  <a:cubicBezTo>
                    <a:pt x="17739" y="2688"/>
                    <a:pt x="15003" y="0"/>
                    <a:pt x="10800" y="0"/>
                  </a:cubicBezTo>
                  <a:cubicBezTo>
                    <a:pt x="6597" y="0"/>
                    <a:pt x="3763" y="2639"/>
                    <a:pt x="3225" y="5669"/>
                  </a:cubicBezTo>
                  <a:lnTo>
                    <a:pt x="0" y="21405"/>
                  </a:lnTo>
                  <a:cubicBezTo>
                    <a:pt x="0" y="21502"/>
                    <a:pt x="49" y="21502"/>
                    <a:pt x="98" y="21453"/>
                  </a:cubicBezTo>
                  <a:close/>
                </a:path>
              </a:pathLst>
            </a:custGeom>
            <a:solidFill>
              <a:srgbClr val="3C1A56"/>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effectLst>
                    <a:outerShdw blurRad="38100" dist="12700" dir="5400000" rotWithShape="0">
                      <a:srgbClr val="000000">
                        <a:alpha val="50000"/>
                      </a:srgbClr>
                    </a:outerShdw>
                  </a:effectLst>
                </a:defRPr>
              </a:pPr>
              <a:endParaRPr/>
            </a:p>
          </p:txBody>
        </p:sp>
      </p:grpSp>
      <p:grpSp>
        <p:nvGrpSpPr>
          <p:cNvPr id="32" name="Group 31">
            <a:extLst>
              <a:ext uri="{FF2B5EF4-FFF2-40B4-BE49-F238E27FC236}">
                <a16:creationId xmlns:a16="http://schemas.microsoft.com/office/drawing/2014/main" id="{3720DB54-F10C-AAFA-2149-8D1919674F4F}"/>
              </a:ext>
            </a:extLst>
          </p:cNvPr>
          <p:cNvGrpSpPr/>
          <p:nvPr/>
        </p:nvGrpSpPr>
        <p:grpSpPr>
          <a:xfrm>
            <a:off x="3774446" y="3613249"/>
            <a:ext cx="1454514" cy="1164510"/>
            <a:chOff x="3774446" y="3613249"/>
            <a:chExt cx="1454514" cy="1164510"/>
          </a:xfrm>
        </p:grpSpPr>
        <p:sp>
          <p:nvSpPr>
            <p:cNvPr id="33" name="Oval">
              <a:extLst>
                <a:ext uri="{FF2B5EF4-FFF2-40B4-BE49-F238E27FC236}">
                  <a16:creationId xmlns:a16="http://schemas.microsoft.com/office/drawing/2014/main" id="{167CB3D6-EE76-E1B8-113B-A6F74E78FBD9}"/>
                </a:ext>
              </a:extLst>
            </p:cNvPr>
            <p:cNvSpPr/>
            <p:nvPr/>
          </p:nvSpPr>
          <p:spPr>
            <a:xfrm rot="4500000">
              <a:off x="3599538" y="3943066"/>
              <a:ext cx="1009601" cy="659785"/>
            </a:xfrm>
            <a:prstGeom prst="ellipse">
              <a:avLst/>
            </a:prstGeom>
            <a:solidFill>
              <a:schemeClr val="accent5"/>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effectLst>
                    <a:outerShdw blurRad="38100" dist="12700" dir="5400000" rotWithShape="0">
                      <a:srgbClr val="000000">
                        <a:alpha val="50000"/>
                      </a:srgbClr>
                    </a:outerShdw>
                  </a:effectLst>
                </a:defRPr>
              </a:pPr>
              <a:endParaRPr/>
            </a:p>
          </p:txBody>
        </p:sp>
        <p:sp>
          <p:nvSpPr>
            <p:cNvPr id="34" name="Shape">
              <a:extLst>
                <a:ext uri="{FF2B5EF4-FFF2-40B4-BE49-F238E27FC236}">
                  <a16:creationId xmlns:a16="http://schemas.microsoft.com/office/drawing/2014/main" id="{6745DB64-7A3B-8747-D7E6-CEB78F844CEA}"/>
                </a:ext>
              </a:extLst>
            </p:cNvPr>
            <p:cNvSpPr/>
            <p:nvPr/>
          </p:nvSpPr>
          <p:spPr>
            <a:xfrm rot="4500000">
              <a:off x="4251003" y="3613897"/>
              <a:ext cx="978606" cy="977309"/>
            </a:xfrm>
            <a:custGeom>
              <a:avLst/>
              <a:gdLst/>
              <a:ahLst/>
              <a:cxnLst>
                <a:cxn ang="0">
                  <a:pos x="wd2" y="hd2"/>
                </a:cxn>
                <a:cxn ang="5400000">
                  <a:pos x="wd2" y="hd2"/>
                </a:cxn>
                <a:cxn ang="10800000">
                  <a:pos x="wd2" y="hd2"/>
                </a:cxn>
                <a:cxn ang="16200000">
                  <a:pos x="wd2" y="hd2"/>
                </a:cxn>
              </a:cxnLst>
              <a:rect l="0" t="0" r="r" b="b"/>
              <a:pathLst>
                <a:path w="21600" h="21571" extrusionOk="0">
                  <a:moveTo>
                    <a:pt x="98" y="21453"/>
                  </a:moveTo>
                  <a:cubicBezTo>
                    <a:pt x="1955" y="18717"/>
                    <a:pt x="6060" y="16811"/>
                    <a:pt x="10800" y="16811"/>
                  </a:cubicBezTo>
                  <a:cubicBezTo>
                    <a:pt x="15589" y="16811"/>
                    <a:pt x="19694" y="18766"/>
                    <a:pt x="21551" y="21551"/>
                  </a:cubicBezTo>
                  <a:cubicBezTo>
                    <a:pt x="21551" y="21600"/>
                    <a:pt x="21600" y="21551"/>
                    <a:pt x="21600" y="21502"/>
                  </a:cubicBezTo>
                  <a:lnTo>
                    <a:pt x="18375" y="5669"/>
                  </a:lnTo>
                  <a:cubicBezTo>
                    <a:pt x="17739" y="2688"/>
                    <a:pt x="15003" y="0"/>
                    <a:pt x="10800" y="0"/>
                  </a:cubicBezTo>
                  <a:cubicBezTo>
                    <a:pt x="6597" y="0"/>
                    <a:pt x="3763" y="2639"/>
                    <a:pt x="3225" y="5669"/>
                  </a:cubicBezTo>
                  <a:lnTo>
                    <a:pt x="0" y="21405"/>
                  </a:lnTo>
                  <a:cubicBezTo>
                    <a:pt x="0" y="21502"/>
                    <a:pt x="49" y="21502"/>
                    <a:pt x="98" y="21453"/>
                  </a:cubicBezTo>
                  <a:close/>
                </a:path>
              </a:pathLst>
            </a:custGeom>
            <a:solidFill>
              <a:schemeClr val="accent5">
                <a:lumMod val="75000"/>
              </a:schemeClr>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effectLst>
                    <a:outerShdw blurRad="38100" dist="12700" dir="5400000" rotWithShape="0">
                      <a:srgbClr val="000000">
                        <a:alpha val="50000"/>
                      </a:srgbClr>
                    </a:outerShdw>
                  </a:effectLst>
                </a:defRPr>
              </a:pPr>
              <a:endParaRPr/>
            </a:p>
          </p:txBody>
        </p:sp>
      </p:grpSp>
      <p:pic>
        <p:nvPicPr>
          <p:cNvPr id="35" name="Graphic 61" descr="Bar graph with downward trend with solid fill">
            <a:extLst>
              <a:ext uri="{FF2B5EF4-FFF2-40B4-BE49-F238E27FC236}">
                <a16:creationId xmlns:a16="http://schemas.microsoft.com/office/drawing/2014/main" id="{18FD4D23-782C-F03E-8AC6-8A4F90420B9C}"/>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911669" y="2697190"/>
            <a:ext cx="385338" cy="385338"/>
          </a:xfrm>
          <a:prstGeom prst="rect">
            <a:avLst/>
          </a:prstGeom>
          <a:effectLst>
            <a:outerShdw blurRad="50800" dist="38100" dir="2700000" algn="tl" rotWithShape="0">
              <a:prstClr val="black">
                <a:alpha val="40000"/>
              </a:prstClr>
            </a:outerShdw>
          </a:effectLst>
        </p:spPr>
      </p:pic>
      <p:pic>
        <p:nvPicPr>
          <p:cNvPr id="36" name="Graphic 64" descr="Bullseye with solid fill">
            <a:extLst>
              <a:ext uri="{FF2B5EF4-FFF2-40B4-BE49-F238E27FC236}">
                <a16:creationId xmlns:a16="http://schemas.microsoft.com/office/drawing/2014/main" id="{128D4538-06A5-97F3-62E5-84120BB074F9}"/>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911669" y="4080289"/>
            <a:ext cx="385338" cy="385338"/>
          </a:xfrm>
          <a:prstGeom prst="rect">
            <a:avLst/>
          </a:prstGeom>
          <a:effectLst>
            <a:outerShdw blurRad="50800" dist="38100" dir="2700000" algn="tl" rotWithShape="0">
              <a:prstClr val="black">
                <a:alpha val="40000"/>
              </a:prstClr>
            </a:outerShdw>
          </a:effectLst>
        </p:spPr>
      </p:pic>
      <p:pic>
        <p:nvPicPr>
          <p:cNvPr id="37" name="Graphic 65" descr="Database with solid fill">
            <a:extLst>
              <a:ext uri="{FF2B5EF4-FFF2-40B4-BE49-F238E27FC236}">
                <a16:creationId xmlns:a16="http://schemas.microsoft.com/office/drawing/2014/main" id="{241D16E2-7762-ACB9-D971-A2EFC8AE3E68}"/>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005603" y="5311615"/>
            <a:ext cx="385338" cy="385338"/>
          </a:xfrm>
          <a:prstGeom prst="rect">
            <a:avLst/>
          </a:prstGeom>
          <a:effectLst>
            <a:outerShdw blurRad="50800" dist="38100" dir="2700000" algn="tl" rotWithShape="0">
              <a:prstClr val="black">
                <a:alpha val="40000"/>
              </a:prstClr>
            </a:outerShdw>
          </a:effectLst>
        </p:spPr>
      </p:pic>
      <p:pic>
        <p:nvPicPr>
          <p:cNvPr id="38" name="Graphic 66" descr="Gears with solid fill">
            <a:extLst>
              <a:ext uri="{FF2B5EF4-FFF2-40B4-BE49-F238E27FC236}">
                <a16:creationId xmlns:a16="http://schemas.microsoft.com/office/drawing/2014/main" id="{80C9436E-7510-26A1-C992-0BFE7DEACDD4}"/>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6807470" y="5311615"/>
            <a:ext cx="385338" cy="385338"/>
          </a:xfrm>
          <a:prstGeom prst="rect">
            <a:avLst/>
          </a:prstGeom>
          <a:effectLst>
            <a:outerShdw blurRad="50800" dist="38100" dir="2700000" algn="tl" rotWithShape="0">
              <a:prstClr val="black">
                <a:alpha val="40000"/>
              </a:prstClr>
            </a:outerShdw>
          </a:effectLst>
        </p:spPr>
      </p:pic>
      <p:pic>
        <p:nvPicPr>
          <p:cNvPr id="39" name="Graphic 68" descr="Lightbulb with solid fill">
            <a:extLst>
              <a:ext uri="{FF2B5EF4-FFF2-40B4-BE49-F238E27FC236}">
                <a16:creationId xmlns:a16="http://schemas.microsoft.com/office/drawing/2014/main" id="{60687CB1-0682-FD62-1333-2832933FA4E3}"/>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6807470" y="1504095"/>
            <a:ext cx="385338" cy="385338"/>
          </a:xfrm>
          <a:prstGeom prst="rect">
            <a:avLst/>
          </a:prstGeom>
          <a:effectLst>
            <a:outerShdw blurRad="50800" dist="38100" dir="2700000" algn="tl" rotWithShape="0">
              <a:prstClr val="black">
                <a:alpha val="40000"/>
              </a:prstClr>
            </a:outerShdw>
          </a:effectLst>
        </p:spPr>
      </p:pic>
      <p:grpSp>
        <p:nvGrpSpPr>
          <p:cNvPr id="40" name="Group 39">
            <a:extLst>
              <a:ext uri="{FF2B5EF4-FFF2-40B4-BE49-F238E27FC236}">
                <a16:creationId xmlns:a16="http://schemas.microsoft.com/office/drawing/2014/main" id="{C2A88369-8ADB-3C1F-BB6A-FE340E8D1F29}"/>
              </a:ext>
            </a:extLst>
          </p:cNvPr>
          <p:cNvGrpSpPr/>
          <p:nvPr/>
        </p:nvGrpSpPr>
        <p:grpSpPr>
          <a:xfrm>
            <a:off x="6969451" y="3651479"/>
            <a:ext cx="1454515" cy="1164511"/>
            <a:chOff x="6969451" y="3651479"/>
            <a:chExt cx="1454515" cy="1164511"/>
          </a:xfrm>
        </p:grpSpPr>
        <p:sp>
          <p:nvSpPr>
            <p:cNvPr id="41" name="Oval">
              <a:extLst>
                <a:ext uri="{FF2B5EF4-FFF2-40B4-BE49-F238E27FC236}">
                  <a16:creationId xmlns:a16="http://schemas.microsoft.com/office/drawing/2014/main" id="{03387F50-9D7E-88BE-39E3-B6216A245291}"/>
                </a:ext>
              </a:extLst>
            </p:cNvPr>
            <p:cNvSpPr/>
            <p:nvPr/>
          </p:nvSpPr>
          <p:spPr>
            <a:xfrm rot="17100000">
              <a:off x="7589273" y="3981297"/>
              <a:ext cx="1009601" cy="659785"/>
            </a:xfrm>
            <a:prstGeom prst="ellipse">
              <a:avLst/>
            </a:prstGeom>
            <a:solidFill>
              <a:schemeClr val="accent6"/>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effectLst>
                    <a:outerShdw blurRad="38100" dist="12700" dir="5400000" rotWithShape="0">
                      <a:srgbClr val="000000">
                        <a:alpha val="50000"/>
                      </a:srgbClr>
                    </a:outerShdw>
                  </a:effectLst>
                </a:defRPr>
              </a:pPr>
              <a:endParaRPr/>
            </a:p>
          </p:txBody>
        </p:sp>
        <p:sp>
          <p:nvSpPr>
            <p:cNvPr id="42" name="Shape">
              <a:extLst>
                <a:ext uri="{FF2B5EF4-FFF2-40B4-BE49-F238E27FC236}">
                  <a16:creationId xmlns:a16="http://schemas.microsoft.com/office/drawing/2014/main" id="{8768A678-4AC9-7073-E6D1-0BA5E3778CA2}"/>
                </a:ext>
              </a:extLst>
            </p:cNvPr>
            <p:cNvSpPr/>
            <p:nvPr/>
          </p:nvSpPr>
          <p:spPr>
            <a:xfrm rot="17100000">
              <a:off x="6968803" y="3652127"/>
              <a:ext cx="978606" cy="977309"/>
            </a:xfrm>
            <a:custGeom>
              <a:avLst/>
              <a:gdLst/>
              <a:ahLst/>
              <a:cxnLst>
                <a:cxn ang="0">
                  <a:pos x="wd2" y="hd2"/>
                </a:cxn>
                <a:cxn ang="5400000">
                  <a:pos x="wd2" y="hd2"/>
                </a:cxn>
                <a:cxn ang="10800000">
                  <a:pos x="wd2" y="hd2"/>
                </a:cxn>
                <a:cxn ang="16200000">
                  <a:pos x="wd2" y="hd2"/>
                </a:cxn>
              </a:cxnLst>
              <a:rect l="0" t="0" r="r" b="b"/>
              <a:pathLst>
                <a:path w="21600" h="21571" extrusionOk="0">
                  <a:moveTo>
                    <a:pt x="98" y="21453"/>
                  </a:moveTo>
                  <a:cubicBezTo>
                    <a:pt x="1955" y="18717"/>
                    <a:pt x="6060" y="16811"/>
                    <a:pt x="10800" y="16811"/>
                  </a:cubicBezTo>
                  <a:cubicBezTo>
                    <a:pt x="15589" y="16811"/>
                    <a:pt x="19694" y="18766"/>
                    <a:pt x="21551" y="21551"/>
                  </a:cubicBezTo>
                  <a:cubicBezTo>
                    <a:pt x="21551" y="21600"/>
                    <a:pt x="21600" y="21551"/>
                    <a:pt x="21600" y="21502"/>
                  </a:cubicBezTo>
                  <a:lnTo>
                    <a:pt x="18375" y="5669"/>
                  </a:lnTo>
                  <a:cubicBezTo>
                    <a:pt x="17739" y="2688"/>
                    <a:pt x="15003" y="0"/>
                    <a:pt x="10800" y="0"/>
                  </a:cubicBezTo>
                  <a:cubicBezTo>
                    <a:pt x="6597" y="0"/>
                    <a:pt x="3763" y="2639"/>
                    <a:pt x="3225" y="5669"/>
                  </a:cubicBezTo>
                  <a:lnTo>
                    <a:pt x="0" y="21405"/>
                  </a:lnTo>
                  <a:cubicBezTo>
                    <a:pt x="0" y="21502"/>
                    <a:pt x="49" y="21502"/>
                    <a:pt x="98" y="21453"/>
                  </a:cubicBezTo>
                  <a:close/>
                </a:path>
              </a:pathLst>
            </a:custGeom>
            <a:solidFill>
              <a:schemeClr val="accent6">
                <a:lumMod val="75000"/>
              </a:schemeClr>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effectLst>
                    <a:outerShdw blurRad="38100" dist="12700" dir="5400000" rotWithShape="0">
                      <a:srgbClr val="000000">
                        <a:alpha val="50000"/>
                      </a:srgbClr>
                    </a:outerShdw>
                  </a:effectLst>
                </a:defRPr>
              </a:pPr>
              <a:endParaRPr/>
            </a:p>
          </p:txBody>
        </p:sp>
      </p:grpSp>
      <p:grpSp>
        <p:nvGrpSpPr>
          <p:cNvPr id="43" name="Group 42">
            <a:extLst>
              <a:ext uri="{FF2B5EF4-FFF2-40B4-BE49-F238E27FC236}">
                <a16:creationId xmlns:a16="http://schemas.microsoft.com/office/drawing/2014/main" id="{1217F0C3-8F82-E30E-AD72-927F1694C961}"/>
              </a:ext>
            </a:extLst>
          </p:cNvPr>
          <p:cNvGrpSpPr/>
          <p:nvPr/>
        </p:nvGrpSpPr>
        <p:grpSpPr>
          <a:xfrm>
            <a:off x="6969451" y="2423290"/>
            <a:ext cx="1454515" cy="1164511"/>
            <a:chOff x="6969451" y="2423290"/>
            <a:chExt cx="1454515" cy="1164511"/>
          </a:xfrm>
        </p:grpSpPr>
        <p:sp>
          <p:nvSpPr>
            <p:cNvPr id="44" name="Oval">
              <a:extLst>
                <a:ext uri="{FF2B5EF4-FFF2-40B4-BE49-F238E27FC236}">
                  <a16:creationId xmlns:a16="http://schemas.microsoft.com/office/drawing/2014/main" id="{C4E2BBA5-2A76-2BAE-5014-B2B9025869E2}"/>
                </a:ext>
              </a:extLst>
            </p:cNvPr>
            <p:cNvSpPr/>
            <p:nvPr/>
          </p:nvSpPr>
          <p:spPr>
            <a:xfrm rot="15300000">
              <a:off x="7589273" y="2598198"/>
              <a:ext cx="1009601" cy="659785"/>
            </a:xfrm>
            <a:prstGeom prst="ellipse">
              <a:avLst/>
            </a:prstGeom>
            <a:solidFill>
              <a:schemeClr val="accent3"/>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effectLst>
                    <a:outerShdw blurRad="38100" dist="12700" dir="5400000" rotWithShape="0">
                      <a:srgbClr val="000000">
                        <a:alpha val="50000"/>
                      </a:srgbClr>
                    </a:outerShdw>
                  </a:effectLst>
                </a:defRPr>
              </a:pPr>
              <a:endParaRPr/>
            </a:p>
          </p:txBody>
        </p:sp>
        <p:sp>
          <p:nvSpPr>
            <p:cNvPr id="45" name="Shape">
              <a:extLst>
                <a:ext uri="{FF2B5EF4-FFF2-40B4-BE49-F238E27FC236}">
                  <a16:creationId xmlns:a16="http://schemas.microsoft.com/office/drawing/2014/main" id="{63F03C26-2AFC-25DA-B6F3-6C1F70CA0502}"/>
                </a:ext>
              </a:extLst>
            </p:cNvPr>
            <p:cNvSpPr/>
            <p:nvPr/>
          </p:nvSpPr>
          <p:spPr>
            <a:xfrm rot="15300000">
              <a:off x="6968803" y="2609843"/>
              <a:ext cx="978606" cy="977309"/>
            </a:xfrm>
            <a:custGeom>
              <a:avLst/>
              <a:gdLst/>
              <a:ahLst/>
              <a:cxnLst>
                <a:cxn ang="0">
                  <a:pos x="wd2" y="hd2"/>
                </a:cxn>
                <a:cxn ang="5400000">
                  <a:pos x="wd2" y="hd2"/>
                </a:cxn>
                <a:cxn ang="10800000">
                  <a:pos x="wd2" y="hd2"/>
                </a:cxn>
                <a:cxn ang="16200000">
                  <a:pos x="wd2" y="hd2"/>
                </a:cxn>
              </a:cxnLst>
              <a:rect l="0" t="0" r="r" b="b"/>
              <a:pathLst>
                <a:path w="21600" h="21571" extrusionOk="0">
                  <a:moveTo>
                    <a:pt x="98" y="21453"/>
                  </a:moveTo>
                  <a:cubicBezTo>
                    <a:pt x="1955" y="18717"/>
                    <a:pt x="6060" y="16811"/>
                    <a:pt x="10800" y="16811"/>
                  </a:cubicBezTo>
                  <a:cubicBezTo>
                    <a:pt x="15589" y="16811"/>
                    <a:pt x="19694" y="18766"/>
                    <a:pt x="21551" y="21551"/>
                  </a:cubicBezTo>
                  <a:cubicBezTo>
                    <a:pt x="21551" y="21600"/>
                    <a:pt x="21600" y="21551"/>
                    <a:pt x="21600" y="21502"/>
                  </a:cubicBezTo>
                  <a:lnTo>
                    <a:pt x="18375" y="5669"/>
                  </a:lnTo>
                  <a:cubicBezTo>
                    <a:pt x="17739" y="2688"/>
                    <a:pt x="15003" y="0"/>
                    <a:pt x="10800" y="0"/>
                  </a:cubicBezTo>
                  <a:cubicBezTo>
                    <a:pt x="6597" y="0"/>
                    <a:pt x="3763" y="2639"/>
                    <a:pt x="3225" y="5669"/>
                  </a:cubicBezTo>
                  <a:lnTo>
                    <a:pt x="0" y="21405"/>
                  </a:lnTo>
                  <a:cubicBezTo>
                    <a:pt x="0" y="21502"/>
                    <a:pt x="49" y="21502"/>
                    <a:pt x="98" y="21453"/>
                  </a:cubicBezTo>
                  <a:close/>
                </a:path>
              </a:pathLst>
            </a:custGeom>
            <a:solidFill>
              <a:schemeClr val="accent3">
                <a:lumMod val="75000"/>
              </a:schemeClr>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effectLst>
                    <a:outerShdw blurRad="38100" dist="12700" dir="5400000" rotWithShape="0">
                      <a:srgbClr val="000000">
                        <a:alpha val="50000"/>
                      </a:srgbClr>
                    </a:outerShdw>
                  </a:effectLst>
                </a:defRPr>
              </a:pPr>
              <a:endParaRPr/>
            </a:p>
          </p:txBody>
        </p:sp>
      </p:grpSp>
      <p:pic>
        <p:nvPicPr>
          <p:cNvPr id="46" name="Graphic 67" descr="Hourglass 30% with solid fill">
            <a:extLst>
              <a:ext uri="{FF2B5EF4-FFF2-40B4-BE49-F238E27FC236}">
                <a16:creationId xmlns:a16="http://schemas.microsoft.com/office/drawing/2014/main" id="{16F36E37-C478-BC80-03DE-19C208AD451B}"/>
              </a:ext>
            </a:extLst>
          </p:cNvPr>
          <p:cNvPicPr>
            <a:picLocks noChangeAspect="1"/>
          </p:cNvPicPr>
          <p:nvPr/>
        </p:nvPicPr>
        <p:blipFill>
          <a:blip r:embed="rId19" cstate="print">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7901404" y="2735421"/>
            <a:ext cx="385338" cy="385338"/>
          </a:xfrm>
          <a:prstGeom prst="rect">
            <a:avLst/>
          </a:prstGeom>
          <a:effectLst>
            <a:outerShdw blurRad="50800" dist="38100" dir="2700000" algn="tl" rotWithShape="0">
              <a:prstClr val="black">
                <a:alpha val="40000"/>
              </a:prstClr>
            </a:outerShdw>
          </a:effectLst>
        </p:spPr>
      </p:pic>
      <p:pic>
        <p:nvPicPr>
          <p:cNvPr id="47" name="Graphic 69" descr="Research with solid fill">
            <a:extLst>
              <a:ext uri="{FF2B5EF4-FFF2-40B4-BE49-F238E27FC236}">
                <a16:creationId xmlns:a16="http://schemas.microsoft.com/office/drawing/2014/main" id="{2AF1F6A9-D709-FDF2-8195-0DDAC7569E97}"/>
              </a:ext>
            </a:extLst>
          </p:cNvPr>
          <p:cNvPicPr>
            <a:picLocks noChangeAspect="1"/>
          </p:cNvPicPr>
          <p:nvPr/>
        </p:nvPicPr>
        <p:blipFill>
          <a:blip r:embed="rId21" cstate="print">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7901404" y="4118520"/>
            <a:ext cx="385338" cy="385338"/>
          </a:xfrm>
          <a:prstGeom prst="rect">
            <a:avLst/>
          </a:prstGeom>
          <a:effectLst>
            <a:outerShdw blurRad="50800" dist="38100" dir="2700000" algn="tl" rotWithShape="0">
              <a:prstClr val="black">
                <a:alpha val="40000"/>
              </a:prstClr>
            </a:outerShdw>
          </a:effectLst>
        </p:spPr>
      </p:pic>
      <p:grpSp>
        <p:nvGrpSpPr>
          <p:cNvPr id="48" name="Group 47">
            <a:extLst>
              <a:ext uri="{FF2B5EF4-FFF2-40B4-BE49-F238E27FC236}">
                <a16:creationId xmlns:a16="http://schemas.microsoft.com/office/drawing/2014/main" id="{D41B450E-0678-A522-FD55-C7174B7451CF}"/>
              </a:ext>
            </a:extLst>
          </p:cNvPr>
          <p:cNvGrpSpPr/>
          <p:nvPr/>
        </p:nvGrpSpPr>
        <p:grpSpPr>
          <a:xfrm>
            <a:off x="101601" y="2157175"/>
            <a:ext cx="3326924" cy="1105487"/>
            <a:chOff x="-67908" y="2627766"/>
            <a:chExt cx="3326924" cy="1105487"/>
          </a:xfrm>
        </p:grpSpPr>
        <p:sp>
          <p:nvSpPr>
            <p:cNvPr id="49" name="TextBox 48">
              <a:extLst>
                <a:ext uri="{FF2B5EF4-FFF2-40B4-BE49-F238E27FC236}">
                  <a16:creationId xmlns:a16="http://schemas.microsoft.com/office/drawing/2014/main" id="{5501DB58-1ADA-46B6-CB4B-17485D02CE52}"/>
                </a:ext>
              </a:extLst>
            </p:cNvPr>
            <p:cNvSpPr txBox="1"/>
            <p:nvPr/>
          </p:nvSpPr>
          <p:spPr>
            <a:xfrm>
              <a:off x="332936" y="2627766"/>
              <a:ext cx="2926080" cy="461665"/>
            </a:xfrm>
            <a:prstGeom prst="rect">
              <a:avLst/>
            </a:prstGeom>
            <a:noFill/>
          </p:spPr>
          <p:txBody>
            <a:bodyPr wrap="square" lIns="0" rIns="0" rtlCol="0" anchor="b">
              <a:spAutoFit/>
            </a:bodyPr>
            <a:lstStyle/>
            <a:p>
              <a:pPr algn="r"/>
              <a:r>
                <a:rPr lang="en-US" sz="2400" b="1" noProof="1">
                  <a:solidFill>
                    <a:srgbClr val="7030A0"/>
                  </a:solidFill>
                </a:rPr>
                <a:t>7. Data Interpretation</a:t>
              </a:r>
            </a:p>
          </p:txBody>
        </p:sp>
        <p:sp>
          <p:nvSpPr>
            <p:cNvPr id="50" name="TextBox 49">
              <a:extLst>
                <a:ext uri="{FF2B5EF4-FFF2-40B4-BE49-F238E27FC236}">
                  <a16:creationId xmlns:a16="http://schemas.microsoft.com/office/drawing/2014/main" id="{F2AD7E27-F64C-3A89-5357-11F0C945F239}"/>
                </a:ext>
              </a:extLst>
            </p:cNvPr>
            <p:cNvSpPr txBox="1"/>
            <p:nvPr/>
          </p:nvSpPr>
          <p:spPr>
            <a:xfrm>
              <a:off x="-67908" y="3086922"/>
              <a:ext cx="3326924" cy="646331"/>
            </a:xfrm>
            <a:prstGeom prst="rect">
              <a:avLst/>
            </a:prstGeom>
            <a:noFill/>
          </p:spPr>
          <p:txBody>
            <a:bodyPr wrap="square" lIns="0" rIns="0" rtlCol="0" anchor="t">
              <a:spAutoFit/>
            </a:bodyPr>
            <a:lstStyle/>
            <a:p>
              <a:pPr marL="171450" indent="-171450" algn="just">
                <a:buFont typeface="Arial" panose="020B0604020202020204" pitchFamily="34" charset="0"/>
                <a:buChar char="•"/>
              </a:pPr>
              <a:r>
                <a:rPr lang="en-GB" sz="1200" noProof="1">
                  <a:solidFill>
                    <a:schemeClr val="tx1">
                      <a:lumMod val="65000"/>
                      <a:lumOff val="35000"/>
                    </a:schemeClr>
                  </a:solidFill>
                </a:rPr>
                <a:t>Draw conclusions from the EDA findings.</a:t>
              </a:r>
            </a:p>
            <a:p>
              <a:pPr marL="171450" indent="-171450" algn="just">
                <a:buFont typeface="Arial" panose="020B0604020202020204" pitchFamily="34" charset="0"/>
                <a:buChar char="•"/>
              </a:pPr>
              <a:r>
                <a:rPr lang="en-GB" sz="1200" noProof="1">
                  <a:solidFill>
                    <a:schemeClr val="tx1">
                      <a:lumMod val="65000"/>
                      <a:lumOff val="35000"/>
                    </a:schemeClr>
                  </a:solidFill>
                </a:rPr>
                <a:t>Make informed decisions or recommendations based on the analysis.</a:t>
              </a:r>
            </a:p>
          </p:txBody>
        </p:sp>
      </p:grpSp>
      <p:grpSp>
        <p:nvGrpSpPr>
          <p:cNvPr id="51" name="Group 50">
            <a:extLst>
              <a:ext uri="{FF2B5EF4-FFF2-40B4-BE49-F238E27FC236}">
                <a16:creationId xmlns:a16="http://schemas.microsoft.com/office/drawing/2014/main" id="{18AB30CB-F112-2184-9966-385479397DEA}"/>
              </a:ext>
            </a:extLst>
          </p:cNvPr>
          <p:cNvGrpSpPr/>
          <p:nvPr/>
        </p:nvGrpSpPr>
        <p:grpSpPr>
          <a:xfrm>
            <a:off x="417576" y="5043874"/>
            <a:ext cx="3632070" cy="1105487"/>
            <a:chOff x="-373054" y="4652338"/>
            <a:chExt cx="3632070" cy="1105487"/>
          </a:xfrm>
        </p:grpSpPr>
        <p:sp>
          <p:nvSpPr>
            <p:cNvPr id="52" name="TextBox 51">
              <a:extLst>
                <a:ext uri="{FF2B5EF4-FFF2-40B4-BE49-F238E27FC236}">
                  <a16:creationId xmlns:a16="http://schemas.microsoft.com/office/drawing/2014/main" id="{F50246A3-00A4-501A-6872-2D8F588B4F94}"/>
                </a:ext>
              </a:extLst>
            </p:cNvPr>
            <p:cNvSpPr txBox="1"/>
            <p:nvPr/>
          </p:nvSpPr>
          <p:spPr>
            <a:xfrm>
              <a:off x="332936" y="4652338"/>
              <a:ext cx="2926080" cy="461665"/>
            </a:xfrm>
            <a:prstGeom prst="rect">
              <a:avLst/>
            </a:prstGeom>
            <a:noFill/>
          </p:spPr>
          <p:txBody>
            <a:bodyPr wrap="square" lIns="0" rIns="0" rtlCol="0" anchor="b">
              <a:spAutoFit/>
            </a:bodyPr>
            <a:lstStyle/>
            <a:p>
              <a:pPr algn="r"/>
              <a:r>
                <a:rPr lang="en-US" sz="2400" b="1" noProof="1">
                  <a:solidFill>
                    <a:schemeClr val="tx2"/>
                  </a:solidFill>
                </a:rPr>
                <a:t>5. Data Preprocessing</a:t>
              </a:r>
            </a:p>
          </p:txBody>
        </p:sp>
        <p:sp>
          <p:nvSpPr>
            <p:cNvPr id="53" name="TextBox 52">
              <a:extLst>
                <a:ext uri="{FF2B5EF4-FFF2-40B4-BE49-F238E27FC236}">
                  <a16:creationId xmlns:a16="http://schemas.microsoft.com/office/drawing/2014/main" id="{868EE26A-F0AC-BC18-6E13-DC7CCFF9206A}"/>
                </a:ext>
              </a:extLst>
            </p:cNvPr>
            <p:cNvSpPr txBox="1"/>
            <p:nvPr/>
          </p:nvSpPr>
          <p:spPr>
            <a:xfrm>
              <a:off x="-373054" y="5111494"/>
              <a:ext cx="3632070" cy="646331"/>
            </a:xfrm>
            <a:prstGeom prst="rect">
              <a:avLst/>
            </a:prstGeom>
            <a:noFill/>
          </p:spPr>
          <p:txBody>
            <a:bodyPr wrap="square" lIns="0" rIns="0" rtlCol="0" anchor="t">
              <a:spAutoFit/>
            </a:bodyPr>
            <a:lstStyle/>
            <a:p>
              <a:pPr marL="171450" indent="-171450" algn="just">
                <a:buFont typeface="Arial" panose="020B0604020202020204" pitchFamily="34" charset="0"/>
                <a:buChar char="•"/>
              </a:pPr>
              <a:r>
                <a:rPr lang="en-GB" sz="1200" noProof="1">
                  <a:solidFill>
                    <a:schemeClr val="tx1">
                      <a:lumMod val="65000"/>
                      <a:lumOff val="35000"/>
                    </a:schemeClr>
                  </a:solidFill>
                </a:rPr>
                <a:t>Normalize or scale data as necessary.</a:t>
              </a:r>
            </a:p>
            <a:p>
              <a:pPr marL="171450" indent="-171450" algn="just">
                <a:buFont typeface="Arial" panose="020B0604020202020204" pitchFamily="34" charset="0"/>
                <a:buChar char="•"/>
              </a:pPr>
              <a:r>
                <a:rPr lang="en-GB" sz="1200" noProof="1">
                  <a:solidFill>
                    <a:schemeClr val="tx1">
                      <a:lumMod val="65000"/>
                      <a:lumOff val="35000"/>
                    </a:schemeClr>
                  </a:solidFill>
                </a:rPr>
                <a:t>Encode categorical variables into numerical format (if applicable).</a:t>
              </a:r>
            </a:p>
          </p:txBody>
        </p:sp>
      </p:grpSp>
      <p:grpSp>
        <p:nvGrpSpPr>
          <p:cNvPr id="54" name="Group 53">
            <a:extLst>
              <a:ext uri="{FF2B5EF4-FFF2-40B4-BE49-F238E27FC236}">
                <a16:creationId xmlns:a16="http://schemas.microsoft.com/office/drawing/2014/main" id="{5228909A-37EC-8AA8-64F1-9A076E1DF0A7}"/>
              </a:ext>
            </a:extLst>
          </p:cNvPr>
          <p:cNvGrpSpPr/>
          <p:nvPr/>
        </p:nvGrpSpPr>
        <p:grpSpPr>
          <a:xfrm>
            <a:off x="254000" y="867022"/>
            <a:ext cx="3795646" cy="1290153"/>
            <a:chOff x="-536630" y="2258434"/>
            <a:chExt cx="3795646" cy="1290153"/>
          </a:xfrm>
        </p:grpSpPr>
        <p:sp>
          <p:nvSpPr>
            <p:cNvPr id="55" name="TextBox 54">
              <a:extLst>
                <a:ext uri="{FF2B5EF4-FFF2-40B4-BE49-F238E27FC236}">
                  <a16:creationId xmlns:a16="http://schemas.microsoft.com/office/drawing/2014/main" id="{603DCC09-1B5F-17FB-DF70-8291387F1884}"/>
                </a:ext>
              </a:extLst>
            </p:cNvPr>
            <p:cNvSpPr txBox="1"/>
            <p:nvPr/>
          </p:nvSpPr>
          <p:spPr>
            <a:xfrm>
              <a:off x="332936" y="2258434"/>
              <a:ext cx="2926080" cy="830997"/>
            </a:xfrm>
            <a:prstGeom prst="rect">
              <a:avLst/>
            </a:prstGeom>
            <a:noFill/>
          </p:spPr>
          <p:txBody>
            <a:bodyPr wrap="square" lIns="0" rIns="0" rtlCol="0" anchor="b">
              <a:spAutoFit/>
            </a:bodyPr>
            <a:lstStyle/>
            <a:p>
              <a:pPr algn="r"/>
              <a:r>
                <a:rPr lang="en-US" sz="2400" b="1" noProof="1">
                  <a:solidFill>
                    <a:schemeClr val="bg2">
                      <a:lumMod val="50000"/>
                    </a:schemeClr>
                  </a:solidFill>
                </a:rPr>
                <a:t>8. Visual Communication</a:t>
              </a:r>
            </a:p>
          </p:txBody>
        </p:sp>
        <p:sp>
          <p:nvSpPr>
            <p:cNvPr id="56" name="TextBox 55">
              <a:extLst>
                <a:ext uri="{FF2B5EF4-FFF2-40B4-BE49-F238E27FC236}">
                  <a16:creationId xmlns:a16="http://schemas.microsoft.com/office/drawing/2014/main" id="{39CD7E2B-C229-AA48-2C11-DFD437D8AEC0}"/>
                </a:ext>
              </a:extLst>
            </p:cNvPr>
            <p:cNvSpPr txBox="1"/>
            <p:nvPr/>
          </p:nvSpPr>
          <p:spPr>
            <a:xfrm>
              <a:off x="-536630" y="3086922"/>
              <a:ext cx="3795646" cy="461665"/>
            </a:xfrm>
            <a:prstGeom prst="rect">
              <a:avLst/>
            </a:prstGeom>
            <a:noFill/>
          </p:spPr>
          <p:txBody>
            <a:bodyPr wrap="square" lIns="0" rIns="0" rtlCol="0" anchor="t">
              <a:spAutoFit/>
            </a:bodyPr>
            <a:lstStyle/>
            <a:p>
              <a:pPr marL="171450" indent="-171450" algn="just">
                <a:buFont typeface="Arial" panose="020B0604020202020204" pitchFamily="34" charset="0"/>
                <a:buChar char="•"/>
              </a:pPr>
              <a:r>
                <a:rPr lang="en-GB" sz="1200" noProof="1">
                  <a:solidFill>
                    <a:schemeClr val="tx1">
                      <a:lumMod val="65000"/>
                      <a:lumOff val="35000"/>
                    </a:schemeClr>
                  </a:solidFill>
                </a:rPr>
                <a:t>Prepare clear and insightful visualizations and reports.</a:t>
              </a:r>
            </a:p>
            <a:p>
              <a:pPr marL="171450" indent="-171450" algn="just">
                <a:buFont typeface="Arial" panose="020B0604020202020204" pitchFamily="34" charset="0"/>
                <a:buChar char="•"/>
              </a:pPr>
              <a:r>
                <a:rPr lang="en-GB" sz="1200" noProof="1">
                  <a:solidFill>
                    <a:schemeClr val="tx1">
                      <a:lumMod val="65000"/>
                      <a:lumOff val="35000"/>
                    </a:schemeClr>
                  </a:solidFill>
                </a:rPr>
                <a:t>Communicate the EDA results to stakeholders effectively.</a:t>
              </a:r>
            </a:p>
          </p:txBody>
        </p:sp>
      </p:grpSp>
      <p:grpSp>
        <p:nvGrpSpPr>
          <p:cNvPr id="57" name="Group 56">
            <a:extLst>
              <a:ext uri="{FF2B5EF4-FFF2-40B4-BE49-F238E27FC236}">
                <a16:creationId xmlns:a16="http://schemas.microsoft.com/office/drawing/2014/main" id="{CFA2FF59-83C5-93CF-FC6D-E9451E483CFA}"/>
              </a:ext>
            </a:extLst>
          </p:cNvPr>
          <p:cNvGrpSpPr/>
          <p:nvPr/>
        </p:nvGrpSpPr>
        <p:grpSpPr>
          <a:xfrm>
            <a:off x="101601" y="3405368"/>
            <a:ext cx="3242272" cy="1474819"/>
            <a:chOff x="332936" y="2258434"/>
            <a:chExt cx="2926080" cy="1474819"/>
          </a:xfrm>
        </p:grpSpPr>
        <p:sp>
          <p:nvSpPr>
            <p:cNvPr id="58" name="TextBox 57">
              <a:extLst>
                <a:ext uri="{FF2B5EF4-FFF2-40B4-BE49-F238E27FC236}">
                  <a16:creationId xmlns:a16="http://schemas.microsoft.com/office/drawing/2014/main" id="{DBD0C2D5-8A45-7B9B-1F6F-7BFE4FEB823B}"/>
                </a:ext>
              </a:extLst>
            </p:cNvPr>
            <p:cNvSpPr txBox="1"/>
            <p:nvPr/>
          </p:nvSpPr>
          <p:spPr>
            <a:xfrm>
              <a:off x="332936" y="2258434"/>
              <a:ext cx="2926080" cy="830997"/>
            </a:xfrm>
            <a:prstGeom prst="rect">
              <a:avLst/>
            </a:prstGeom>
            <a:noFill/>
          </p:spPr>
          <p:txBody>
            <a:bodyPr wrap="square" lIns="0" rIns="0" rtlCol="0" anchor="b">
              <a:spAutoFit/>
            </a:bodyPr>
            <a:lstStyle/>
            <a:p>
              <a:pPr algn="r"/>
              <a:r>
                <a:rPr lang="en-US" sz="2400" b="1" noProof="1">
                  <a:solidFill>
                    <a:schemeClr val="accent5"/>
                  </a:solidFill>
                </a:rPr>
                <a:t>6. Exploratory Data Analysis</a:t>
              </a:r>
            </a:p>
          </p:txBody>
        </p:sp>
        <p:sp>
          <p:nvSpPr>
            <p:cNvPr id="59" name="TextBox 58">
              <a:extLst>
                <a:ext uri="{FF2B5EF4-FFF2-40B4-BE49-F238E27FC236}">
                  <a16:creationId xmlns:a16="http://schemas.microsoft.com/office/drawing/2014/main" id="{207582B9-BC45-C0CD-CABB-45029011086E}"/>
                </a:ext>
              </a:extLst>
            </p:cNvPr>
            <p:cNvSpPr txBox="1"/>
            <p:nvPr/>
          </p:nvSpPr>
          <p:spPr>
            <a:xfrm>
              <a:off x="332936" y="3086922"/>
              <a:ext cx="2926080" cy="646331"/>
            </a:xfrm>
            <a:prstGeom prst="rect">
              <a:avLst/>
            </a:prstGeom>
            <a:noFill/>
          </p:spPr>
          <p:txBody>
            <a:bodyPr wrap="square" lIns="0" rIns="0" rtlCol="0" anchor="t">
              <a:spAutoFit/>
            </a:bodyPr>
            <a:lstStyle/>
            <a:p>
              <a:pPr marL="171450" indent="-171450" algn="just">
                <a:buFont typeface="Arial" panose="020B0604020202020204" pitchFamily="34" charset="0"/>
                <a:buChar char="•"/>
              </a:pPr>
              <a:r>
                <a:rPr lang="en-GB" sz="1200" noProof="1">
                  <a:solidFill>
                    <a:schemeClr val="tx1">
                      <a:lumMod val="65000"/>
                      <a:lumOff val="35000"/>
                    </a:schemeClr>
                  </a:solidFill>
                </a:rPr>
                <a:t>Investigate relationships and correlations between variables.</a:t>
              </a:r>
            </a:p>
            <a:p>
              <a:pPr marL="171450" indent="-171450" algn="just">
                <a:buFont typeface="Arial" panose="020B0604020202020204" pitchFamily="34" charset="0"/>
                <a:buChar char="•"/>
              </a:pPr>
              <a:r>
                <a:rPr lang="en-GB" sz="1200" noProof="1">
                  <a:solidFill>
                    <a:schemeClr val="tx1">
                      <a:lumMod val="65000"/>
                      <a:lumOff val="35000"/>
                    </a:schemeClr>
                  </a:solidFill>
                </a:rPr>
                <a:t>Identify potential outliers and anomalies.</a:t>
              </a:r>
            </a:p>
          </p:txBody>
        </p:sp>
      </p:grpSp>
      <p:grpSp>
        <p:nvGrpSpPr>
          <p:cNvPr id="60" name="Group 59">
            <a:extLst>
              <a:ext uri="{FF2B5EF4-FFF2-40B4-BE49-F238E27FC236}">
                <a16:creationId xmlns:a16="http://schemas.microsoft.com/office/drawing/2014/main" id="{8CB4AE84-6B6A-F1A9-B80D-25F5AACDF65C}"/>
              </a:ext>
            </a:extLst>
          </p:cNvPr>
          <p:cNvGrpSpPr/>
          <p:nvPr/>
        </p:nvGrpSpPr>
        <p:grpSpPr>
          <a:xfrm>
            <a:off x="8927481" y="2509391"/>
            <a:ext cx="3044386" cy="1105487"/>
            <a:chOff x="8921977" y="1466725"/>
            <a:chExt cx="3044386" cy="1105487"/>
          </a:xfrm>
        </p:grpSpPr>
        <p:sp>
          <p:nvSpPr>
            <p:cNvPr id="61" name="TextBox 60">
              <a:extLst>
                <a:ext uri="{FF2B5EF4-FFF2-40B4-BE49-F238E27FC236}">
                  <a16:creationId xmlns:a16="http://schemas.microsoft.com/office/drawing/2014/main" id="{86D669AE-E23C-D003-912D-AC55B3530A63}"/>
                </a:ext>
              </a:extLst>
            </p:cNvPr>
            <p:cNvSpPr txBox="1"/>
            <p:nvPr/>
          </p:nvSpPr>
          <p:spPr>
            <a:xfrm>
              <a:off x="8921977" y="1466725"/>
              <a:ext cx="2926080" cy="461665"/>
            </a:xfrm>
            <a:prstGeom prst="rect">
              <a:avLst/>
            </a:prstGeom>
            <a:noFill/>
          </p:spPr>
          <p:txBody>
            <a:bodyPr wrap="square" lIns="0" rIns="0" rtlCol="0" anchor="b">
              <a:spAutoFit/>
            </a:bodyPr>
            <a:lstStyle/>
            <a:p>
              <a:r>
                <a:rPr lang="en-US" sz="2400" b="1" noProof="1">
                  <a:solidFill>
                    <a:schemeClr val="accent3">
                      <a:lumMod val="75000"/>
                    </a:schemeClr>
                  </a:solidFill>
                </a:rPr>
                <a:t>2. Data Cleaning</a:t>
              </a:r>
            </a:p>
          </p:txBody>
        </p:sp>
        <p:sp>
          <p:nvSpPr>
            <p:cNvPr id="62" name="TextBox 61">
              <a:extLst>
                <a:ext uri="{FF2B5EF4-FFF2-40B4-BE49-F238E27FC236}">
                  <a16:creationId xmlns:a16="http://schemas.microsoft.com/office/drawing/2014/main" id="{0E24BD6A-A0C4-0D3E-F1A2-824ED921E59C}"/>
                </a:ext>
              </a:extLst>
            </p:cNvPr>
            <p:cNvSpPr txBox="1"/>
            <p:nvPr/>
          </p:nvSpPr>
          <p:spPr>
            <a:xfrm>
              <a:off x="8921977" y="1925881"/>
              <a:ext cx="3044386" cy="646331"/>
            </a:xfrm>
            <a:prstGeom prst="rect">
              <a:avLst/>
            </a:prstGeom>
            <a:noFill/>
          </p:spPr>
          <p:txBody>
            <a:bodyPr wrap="square" lIns="0" rIns="0" rtlCol="0" anchor="t">
              <a:spAutoFit/>
            </a:bodyPr>
            <a:lstStyle/>
            <a:p>
              <a:pPr marL="171450" indent="-171450" algn="just">
                <a:buFont typeface="Arial" panose="020B0604020202020204" pitchFamily="34" charset="0"/>
                <a:buChar char="•"/>
              </a:pPr>
              <a:r>
                <a:rPr lang="en-GB" sz="1200" noProof="1">
                  <a:solidFill>
                    <a:schemeClr val="tx1">
                      <a:lumMod val="65000"/>
                      <a:lumOff val="35000"/>
                    </a:schemeClr>
                  </a:solidFill>
                </a:rPr>
                <a:t>Handle missing values, outliers, and data inconsistencies.</a:t>
              </a:r>
            </a:p>
            <a:p>
              <a:pPr marL="171450" indent="-171450" algn="just">
                <a:buFont typeface="Arial" panose="020B0604020202020204" pitchFamily="34" charset="0"/>
                <a:buChar char="•"/>
              </a:pPr>
              <a:r>
                <a:rPr lang="en-GB" sz="1200" noProof="1">
                  <a:solidFill>
                    <a:schemeClr val="tx1">
                      <a:lumMod val="65000"/>
                      <a:lumOff val="35000"/>
                    </a:schemeClr>
                  </a:solidFill>
                </a:rPr>
                <a:t>Standardize data formats and remove noise.</a:t>
              </a:r>
            </a:p>
          </p:txBody>
        </p:sp>
      </p:grpSp>
      <p:grpSp>
        <p:nvGrpSpPr>
          <p:cNvPr id="63" name="Group 62">
            <a:extLst>
              <a:ext uri="{FF2B5EF4-FFF2-40B4-BE49-F238E27FC236}">
                <a16:creationId xmlns:a16="http://schemas.microsoft.com/office/drawing/2014/main" id="{74B00265-1FD1-4A38-B2BC-054B79A365E9}"/>
              </a:ext>
            </a:extLst>
          </p:cNvPr>
          <p:cNvGrpSpPr/>
          <p:nvPr/>
        </p:nvGrpSpPr>
        <p:grpSpPr>
          <a:xfrm>
            <a:off x="8142353" y="5043874"/>
            <a:ext cx="3948045" cy="1105487"/>
            <a:chOff x="8921976" y="4073386"/>
            <a:chExt cx="3948045" cy="1105487"/>
          </a:xfrm>
        </p:grpSpPr>
        <p:sp>
          <p:nvSpPr>
            <p:cNvPr id="64" name="TextBox 63">
              <a:extLst>
                <a:ext uri="{FF2B5EF4-FFF2-40B4-BE49-F238E27FC236}">
                  <a16:creationId xmlns:a16="http://schemas.microsoft.com/office/drawing/2014/main" id="{22857D22-ED30-41EA-5817-9C539B28241D}"/>
                </a:ext>
              </a:extLst>
            </p:cNvPr>
            <p:cNvSpPr txBox="1"/>
            <p:nvPr/>
          </p:nvSpPr>
          <p:spPr>
            <a:xfrm>
              <a:off x="8921977" y="4073386"/>
              <a:ext cx="2926080" cy="461665"/>
            </a:xfrm>
            <a:prstGeom prst="rect">
              <a:avLst/>
            </a:prstGeom>
            <a:noFill/>
          </p:spPr>
          <p:txBody>
            <a:bodyPr wrap="square" lIns="0" rIns="0" rtlCol="0" anchor="b">
              <a:spAutoFit/>
            </a:bodyPr>
            <a:lstStyle/>
            <a:p>
              <a:r>
                <a:rPr lang="en-US" sz="2400" b="1" noProof="1">
                  <a:solidFill>
                    <a:schemeClr val="accent4">
                      <a:lumMod val="50000"/>
                    </a:schemeClr>
                  </a:solidFill>
                </a:rPr>
                <a:t>4. Descriptive Statistics</a:t>
              </a:r>
            </a:p>
          </p:txBody>
        </p:sp>
        <p:sp>
          <p:nvSpPr>
            <p:cNvPr id="65" name="TextBox 64">
              <a:extLst>
                <a:ext uri="{FF2B5EF4-FFF2-40B4-BE49-F238E27FC236}">
                  <a16:creationId xmlns:a16="http://schemas.microsoft.com/office/drawing/2014/main" id="{1610AE8C-3407-7A92-8D20-5CC2208B801C}"/>
                </a:ext>
              </a:extLst>
            </p:cNvPr>
            <p:cNvSpPr txBox="1"/>
            <p:nvPr/>
          </p:nvSpPr>
          <p:spPr>
            <a:xfrm>
              <a:off x="8921976" y="4532542"/>
              <a:ext cx="3948045" cy="646331"/>
            </a:xfrm>
            <a:prstGeom prst="rect">
              <a:avLst/>
            </a:prstGeom>
            <a:noFill/>
          </p:spPr>
          <p:txBody>
            <a:bodyPr wrap="square" lIns="0" rIns="0" rtlCol="0" anchor="t">
              <a:spAutoFit/>
            </a:bodyPr>
            <a:lstStyle/>
            <a:p>
              <a:pPr marL="171450" indent="-171450" algn="just">
                <a:buFont typeface="Arial" panose="020B0604020202020204" pitchFamily="34" charset="0"/>
                <a:buChar char="•"/>
              </a:pPr>
              <a:r>
                <a:rPr lang="en-GB" sz="1200" noProof="1">
                  <a:solidFill>
                    <a:schemeClr val="tx1">
                      <a:lumMod val="65000"/>
                      <a:lumOff val="35000"/>
                    </a:schemeClr>
                  </a:solidFill>
                </a:rPr>
                <a:t>Compute summary statistics (mean, median, standard deviation, etc.) for key variables.</a:t>
              </a:r>
            </a:p>
            <a:p>
              <a:pPr marL="171450" indent="-171450" algn="just">
                <a:buFont typeface="Arial" panose="020B0604020202020204" pitchFamily="34" charset="0"/>
                <a:buChar char="•"/>
              </a:pPr>
              <a:r>
                <a:rPr lang="en-GB" sz="1200" noProof="1">
                  <a:solidFill>
                    <a:schemeClr val="tx1">
                      <a:lumMod val="65000"/>
                      <a:lumOff val="35000"/>
                    </a:schemeClr>
                  </a:solidFill>
                </a:rPr>
                <a:t>Identify central tendencies and variability in the data.</a:t>
              </a:r>
            </a:p>
          </p:txBody>
        </p:sp>
      </p:grpSp>
      <p:grpSp>
        <p:nvGrpSpPr>
          <p:cNvPr id="66" name="Group 65">
            <a:extLst>
              <a:ext uri="{FF2B5EF4-FFF2-40B4-BE49-F238E27FC236}">
                <a16:creationId xmlns:a16="http://schemas.microsoft.com/office/drawing/2014/main" id="{AEB3BF60-F889-D776-7BA9-35E21C1EDD33}"/>
              </a:ext>
            </a:extLst>
          </p:cNvPr>
          <p:cNvGrpSpPr/>
          <p:nvPr/>
        </p:nvGrpSpPr>
        <p:grpSpPr>
          <a:xfrm>
            <a:off x="8142353" y="1242150"/>
            <a:ext cx="3711207" cy="920821"/>
            <a:chOff x="8921976" y="1466725"/>
            <a:chExt cx="3711207" cy="920821"/>
          </a:xfrm>
        </p:grpSpPr>
        <p:sp>
          <p:nvSpPr>
            <p:cNvPr id="67" name="TextBox 66">
              <a:extLst>
                <a:ext uri="{FF2B5EF4-FFF2-40B4-BE49-F238E27FC236}">
                  <a16:creationId xmlns:a16="http://schemas.microsoft.com/office/drawing/2014/main" id="{7B869FDA-1D53-3AC1-797E-C1ECEFF8A4F8}"/>
                </a:ext>
              </a:extLst>
            </p:cNvPr>
            <p:cNvSpPr txBox="1"/>
            <p:nvPr/>
          </p:nvSpPr>
          <p:spPr>
            <a:xfrm>
              <a:off x="8921977" y="1466725"/>
              <a:ext cx="2926080" cy="461665"/>
            </a:xfrm>
            <a:prstGeom prst="rect">
              <a:avLst/>
            </a:prstGeom>
            <a:noFill/>
          </p:spPr>
          <p:txBody>
            <a:bodyPr wrap="square" lIns="0" rIns="0" rtlCol="0" anchor="b">
              <a:spAutoFit/>
            </a:bodyPr>
            <a:lstStyle/>
            <a:p>
              <a:r>
                <a:rPr lang="en-US" sz="2400" b="1" noProof="1">
                  <a:solidFill>
                    <a:schemeClr val="accent2">
                      <a:lumMod val="75000"/>
                    </a:schemeClr>
                  </a:solidFill>
                </a:rPr>
                <a:t>1. Data Collection</a:t>
              </a:r>
            </a:p>
          </p:txBody>
        </p:sp>
        <p:sp>
          <p:nvSpPr>
            <p:cNvPr id="68" name="TextBox 67">
              <a:extLst>
                <a:ext uri="{FF2B5EF4-FFF2-40B4-BE49-F238E27FC236}">
                  <a16:creationId xmlns:a16="http://schemas.microsoft.com/office/drawing/2014/main" id="{9A941316-C837-7A8E-8BB3-E22332C33D5F}"/>
                </a:ext>
              </a:extLst>
            </p:cNvPr>
            <p:cNvSpPr txBox="1"/>
            <p:nvPr/>
          </p:nvSpPr>
          <p:spPr>
            <a:xfrm>
              <a:off x="8921976" y="1925881"/>
              <a:ext cx="3711207" cy="461665"/>
            </a:xfrm>
            <a:prstGeom prst="rect">
              <a:avLst/>
            </a:prstGeom>
            <a:noFill/>
          </p:spPr>
          <p:txBody>
            <a:bodyPr wrap="square" lIns="0" rIns="0" rtlCol="0" anchor="t">
              <a:spAutoFit/>
            </a:bodyPr>
            <a:lstStyle/>
            <a:p>
              <a:pPr marL="171450" indent="-171450" algn="just">
                <a:buFont typeface="Arial" panose="020B0604020202020204" pitchFamily="34" charset="0"/>
                <a:buChar char="•"/>
              </a:pPr>
              <a:r>
                <a:rPr lang="en-GB" sz="1200" noProof="1">
                  <a:solidFill>
                    <a:schemeClr val="tx1">
                      <a:lumMod val="65000"/>
                      <a:lumOff val="35000"/>
                    </a:schemeClr>
                  </a:solidFill>
                </a:rPr>
                <a:t>Gather relevant data sources and datasets for analysis.</a:t>
              </a:r>
            </a:p>
            <a:p>
              <a:pPr marL="171450" indent="-171450" algn="just">
                <a:buFont typeface="Arial" panose="020B0604020202020204" pitchFamily="34" charset="0"/>
                <a:buChar char="•"/>
              </a:pPr>
              <a:r>
                <a:rPr lang="en-GB" sz="1200" noProof="1">
                  <a:solidFill>
                    <a:schemeClr val="tx1">
                      <a:lumMod val="65000"/>
                      <a:lumOff val="35000"/>
                    </a:schemeClr>
                  </a:solidFill>
                </a:rPr>
                <a:t>Ensure data integrity, consistency, and quality.</a:t>
              </a:r>
            </a:p>
          </p:txBody>
        </p:sp>
      </p:grpSp>
      <p:grpSp>
        <p:nvGrpSpPr>
          <p:cNvPr id="69" name="Group 68">
            <a:extLst>
              <a:ext uri="{FF2B5EF4-FFF2-40B4-BE49-F238E27FC236}">
                <a16:creationId xmlns:a16="http://schemas.microsoft.com/office/drawing/2014/main" id="{B8839D44-AE00-7AC7-6B7E-6292735C5F5D}"/>
              </a:ext>
            </a:extLst>
          </p:cNvPr>
          <p:cNvGrpSpPr/>
          <p:nvPr/>
        </p:nvGrpSpPr>
        <p:grpSpPr>
          <a:xfrm>
            <a:off x="8927480" y="3776632"/>
            <a:ext cx="3162919" cy="1105487"/>
            <a:chOff x="8921976" y="1466725"/>
            <a:chExt cx="3162919" cy="1105487"/>
          </a:xfrm>
        </p:grpSpPr>
        <p:sp>
          <p:nvSpPr>
            <p:cNvPr id="70" name="TextBox 69">
              <a:extLst>
                <a:ext uri="{FF2B5EF4-FFF2-40B4-BE49-F238E27FC236}">
                  <a16:creationId xmlns:a16="http://schemas.microsoft.com/office/drawing/2014/main" id="{70E01CC7-36E9-2421-7D9B-090E588525E2}"/>
                </a:ext>
              </a:extLst>
            </p:cNvPr>
            <p:cNvSpPr txBox="1"/>
            <p:nvPr/>
          </p:nvSpPr>
          <p:spPr>
            <a:xfrm>
              <a:off x="8921977" y="1466725"/>
              <a:ext cx="2926080" cy="461665"/>
            </a:xfrm>
            <a:prstGeom prst="rect">
              <a:avLst/>
            </a:prstGeom>
            <a:noFill/>
          </p:spPr>
          <p:txBody>
            <a:bodyPr wrap="square" lIns="0" rIns="0" rtlCol="0" anchor="b">
              <a:spAutoFit/>
            </a:bodyPr>
            <a:lstStyle/>
            <a:p>
              <a:r>
                <a:rPr lang="en-US" sz="2400" b="1" noProof="1">
                  <a:solidFill>
                    <a:schemeClr val="accent6">
                      <a:lumMod val="75000"/>
                    </a:schemeClr>
                  </a:solidFill>
                </a:rPr>
                <a:t>3. Data Visualization</a:t>
              </a:r>
            </a:p>
          </p:txBody>
        </p:sp>
        <p:sp>
          <p:nvSpPr>
            <p:cNvPr id="71" name="TextBox 70">
              <a:extLst>
                <a:ext uri="{FF2B5EF4-FFF2-40B4-BE49-F238E27FC236}">
                  <a16:creationId xmlns:a16="http://schemas.microsoft.com/office/drawing/2014/main" id="{B182A537-37FD-2CAE-58BD-875AA475D56F}"/>
                </a:ext>
              </a:extLst>
            </p:cNvPr>
            <p:cNvSpPr txBox="1"/>
            <p:nvPr/>
          </p:nvSpPr>
          <p:spPr>
            <a:xfrm>
              <a:off x="8921976" y="1925881"/>
              <a:ext cx="3162919" cy="646331"/>
            </a:xfrm>
            <a:prstGeom prst="rect">
              <a:avLst/>
            </a:prstGeom>
            <a:noFill/>
          </p:spPr>
          <p:txBody>
            <a:bodyPr wrap="square" lIns="0" rIns="0" rtlCol="0" anchor="t">
              <a:spAutoFit/>
            </a:bodyPr>
            <a:lstStyle/>
            <a:p>
              <a:pPr marL="171450" indent="-171450" algn="just">
                <a:buFont typeface="Arial" panose="020B0604020202020204" pitchFamily="34" charset="0"/>
                <a:buChar char="•"/>
              </a:pPr>
              <a:r>
                <a:rPr lang="en-GB" sz="1200" noProof="1">
                  <a:solidFill>
                    <a:schemeClr val="tx1">
                      <a:lumMod val="65000"/>
                      <a:lumOff val="35000"/>
                    </a:schemeClr>
                  </a:solidFill>
                </a:rPr>
                <a:t>Create charts, graphs, and plots to visualize data distributions and relationships.</a:t>
              </a:r>
            </a:p>
            <a:p>
              <a:pPr marL="171450" indent="-171450" algn="just">
                <a:buFont typeface="Arial" panose="020B0604020202020204" pitchFamily="34" charset="0"/>
                <a:buChar char="•"/>
              </a:pPr>
              <a:r>
                <a:rPr lang="en-GB" sz="1200" noProof="1">
                  <a:solidFill>
                    <a:schemeClr val="tx1">
                      <a:lumMod val="65000"/>
                      <a:lumOff val="35000"/>
                    </a:schemeClr>
                  </a:solidFill>
                </a:rPr>
                <a:t>Explore patterns and trends within the data.</a:t>
              </a:r>
              <a:endParaRPr lang="en-US" sz="1200" noProof="1">
                <a:solidFill>
                  <a:schemeClr val="tx1">
                    <a:lumMod val="65000"/>
                    <a:lumOff val="35000"/>
                  </a:schemeClr>
                </a:solidFill>
              </a:endParaRPr>
            </a:p>
          </p:txBody>
        </p:sp>
      </p:grpSp>
    </p:spTree>
    <p:extLst>
      <p:ext uri="{BB962C8B-B14F-4D97-AF65-F5344CB8AC3E}">
        <p14:creationId xmlns:p14="http://schemas.microsoft.com/office/powerpoint/2010/main" val="273871393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F2A084-B90C-BB60-CEC9-BE67CD0929C3}"/>
              </a:ext>
            </a:extLst>
          </p:cNvPr>
          <p:cNvGraphicFramePr>
            <a:graphicFrameLocks noChangeAspect="1"/>
          </p:cNvGraphicFramePr>
          <p:nvPr>
            <p:custDataLst>
              <p:tags r:id="rId1"/>
            </p:custDataLst>
            <p:extLst>
              <p:ext uri="{D42A27DB-BD31-4B8C-83A1-F6EECF244321}">
                <p14:modId xmlns:p14="http://schemas.microsoft.com/office/powerpoint/2010/main" val="32094751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CEF2A084-B90C-BB60-CEC9-BE67CD0929C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AB542D87-DDCB-4683-8842-BC5605C8D09B}"/>
              </a:ext>
            </a:extLst>
          </p:cNvPr>
          <p:cNvSpPr>
            <a:spLocks noGrp="1"/>
          </p:cNvSpPr>
          <p:nvPr>
            <p:ph type="title"/>
          </p:nvPr>
        </p:nvSpPr>
        <p:spPr>
          <a:xfrm>
            <a:off x="66675" y="137675"/>
            <a:ext cx="8037090" cy="692287"/>
          </a:xfrm>
        </p:spPr>
        <p:txBody>
          <a:bodyPr vert="horz">
            <a:normAutofit fontScale="90000"/>
          </a:bodyPr>
          <a:lstStyle/>
          <a:p>
            <a:r>
              <a:rPr lang="en-IN" dirty="0">
                <a:latin typeface="Gill Sans MT" panose="020B0502020104020203" pitchFamily="34" charset="0"/>
              </a:rPr>
              <a:t>Exploratory Analysis – Key Findings</a:t>
            </a:r>
            <a:endParaRPr lang="en-US" dirty="0"/>
          </a:p>
        </p:txBody>
      </p:sp>
      <p:pic>
        <p:nvPicPr>
          <p:cNvPr id="3074" name="Picture 2">
            <a:extLst>
              <a:ext uri="{FF2B5EF4-FFF2-40B4-BE49-F238E27FC236}">
                <a16:creationId xmlns:a16="http://schemas.microsoft.com/office/drawing/2014/main" id="{A9650C3F-DA4D-D37E-F7CD-DCEADE91CC9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33545" y="1552288"/>
            <a:ext cx="3141682" cy="3661200"/>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19516EC6-4642-F466-BAC3-FCCC8CE01AF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056131" y="1552288"/>
            <a:ext cx="3420000" cy="3621176"/>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CC4168BC-28F1-A8C4-D13A-4698DC6A8775}"/>
              </a:ext>
            </a:extLst>
          </p:cNvPr>
          <p:cNvSpPr txBox="1"/>
          <p:nvPr/>
        </p:nvSpPr>
        <p:spPr>
          <a:xfrm>
            <a:off x="489855" y="1308739"/>
            <a:ext cx="2985371" cy="302877"/>
          </a:xfrm>
          <a:prstGeom prst="rect">
            <a:avLst/>
          </a:prstGeom>
          <a:solidFill>
            <a:schemeClr val="accent5">
              <a:lumMod val="60000"/>
              <a:lumOff val="40000"/>
            </a:schemeClr>
          </a:solidFill>
        </p:spPr>
        <p:txBody>
          <a:bodyPr wrap="square" rtlCol="0">
            <a:noAutofit/>
          </a:bodyPr>
          <a:lstStyle/>
          <a:p>
            <a:pPr lvl="0" algn="ctr">
              <a:defRPr/>
            </a:pPr>
            <a:r>
              <a:rPr lang="en-GB" sz="1400" kern="0" dirty="0">
                <a:latin typeface="Gill Sans MT" panose="020B0502020104020203" pitchFamily="34" charset="0"/>
              </a:rPr>
              <a:t>Defaulters % by Term </a:t>
            </a:r>
            <a:endParaRPr kumimoji="0" lang="en-US" sz="1400" b="0" i="0" u="none" strike="noStrike" kern="0" cap="none" spc="0" normalizeH="0" baseline="0" noProof="0" dirty="0">
              <a:ln>
                <a:noFill/>
              </a:ln>
              <a:effectLst/>
              <a:uLnTx/>
              <a:uFillTx/>
              <a:latin typeface="Gill Sans MT" panose="020B0502020104020203" pitchFamily="34" charset="0"/>
            </a:endParaRPr>
          </a:p>
        </p:txBody>
      </p:sp>
      <p:sp>
        <p:nvSpPr>
          <p:cNvPr id="9" name="TextBox 8">
            <a:extLst>
              <a:ext uri="{FF2B5EF4-FFF2-40B4-BE49-F238E27FC236}">
                <a16:creationId xmlns:a16="http://schemas.microsoft.com/office/drawing/2014/main" id="{4ECD2886-CD11-20F2-C429-DBEC55EFBC20}"/>
              </a:ext>
            </a:extLst>
          </p:cNvPr>
          <p:cNvSpPr txBox="1"/>
          <p:nvPr/>
        </p:nvSpPr>
        <p:spPr>
          <a:xfrm>
            <a:off x="8268346" y="1282569"/>
            <a:ext cx="3160884" cy="302877"/>
          </a:xfrm>
          <a:prstGeom prst="rect">
            <a:avLst/>
          </a:prstGeom>
          <a:solidFill>
            <a:schemeClr val="accent5">
              <a:lumMod val="60000"/>
              <a:lumOff val="40000"/>
            </a:schemeClr>
          </a:solidFill>
        </p:spPr>
        <p:txBody>
          <a:bodyPr wrap="square" rtlCol="0">
            <a:noAutofit/>
          </a:bodyPr>
          <a:lstStyle>
            <a:defPPr>
              <a:defRPr lang="en-US"/>
            </a:defPPr>
            <a:lvl1pPr lvl="0" algn="ctr">
              <a:defRPr sz="1400" kern="0">
                <a:solidFill>
                  <a:schemeClr val="bg1"/>
                </a:solidFill>
                <a:latin typeface="Gill Sans MT" panose="020B0502020104020203" pitchFamily="34" charset="0"/>
              </a:defRPr>
            </a:lvl1pPr>
          </a:lstStyle>
          <a:p>
            <a:r>
              <a:rPr lang="en-GB" sz="1400" kern="0" dirty="0">
                <a:solidFill>
                  <a:schemeClr val="tx1"/>
                </a:solidFill>
                <a:latin typeface="Gill Sans MT" panose="020B0502020104020203" pitchFamily="34" charset="0"/>
              </a:rPr>
              <a:t>Defaulters % by Sub Grade </a:t>
            </a:r>
            <a:endParaRPr kumimoji="0" lang="en-US" sz="1400" b="0" i="0" u="none" strike="noStrike" kern="0" cap="none" spc="0" normalizeH="0" baseline="0" noProof="0" dirty="0">
              <a:ln>
                <a:noFill/>
              </a:ln>
              <a:solidFill>
                <a:schemeClr val="tx1"/>
              </a:solidFill>
              <a:effectLst/>
              <a:uLnTx/>
              <a:uFillTx/>
              <a:latin typeface="Gill Sans MT" panose="020B0502020104020203" pitchFamily="34" charset="0"/>
            </a:endParaRPr>
          </a:p>
          <a:p>
            <a:endParaRPr lang="en-US" dirty="0">
              <a:solidFill>
                <a:schemeClr val="tx1"/>
              </a:solidFill>
            </a:endParaRPr>
          </a:p>
        </p:txBody>
      </p:sp>
      <p:sp>
        <p:nvSpPr>
          <p:cNvPr id="10" name="TextBox 9">
            <a:extLst>
              <a:ext uri="{FF2B5EF4-FFF2-40B4-BE49-F238E27FC236}">
                <a16:creationId xmlns:a16="http://schemas.microsoft.com/office/drawing/2014/main" id="{A06C2E62-68AD-A91E-28FB-9939611820EA}"/>
              </a:ext>
            </a:extLst>
          </p:cNvPr>
          <p:cNvSpPr txBox="1"/>
          <p:nvPr/>
        </p:nvSpPr>
        <p:spPr>
          <a:xfrm>
            <a:off x="333546" y="5305598"/>
            <a:ext cx="3014122" cy="780863"/>
          </a:xfrm>
          <a:prstGeom prst="rect">
            <a:avLst/>
          </a:prstGeom>
          <a:solidFill>
            <a:schemeClr val="accent5">
              <a:lumMod val="60000"/>
              <a:lumOff val="40000"/>
            </a:schemeClr>
          </a:solidFill>
        </p:spPr>
        <p:txBody>
          <a:bodyPr wrap="square" rtlCol="0">
            <a:noAutofit/>
          </a:bodyPr>
          <a:lstStyle>
            <a:defPPr>
              <a:defRPr lang="en-US"/>
            </a:defPPr>
            <a:lvl1pPr lvl="0" algn="ctr">
              <a:defRPr sz="1400" kern="0">
                <a:solidFill>
                  <a:schemeClr val="bg1"/>
                </a:solidFill>
                <a:latin typeface="Gill Sans MT" panose="020B0502020104020203" pitchFamily="34" charset="0"/>
              </a:defRPr>
            </a:lvl1pPr>
          </a:lstStyle>
          <a:p>
            <a:r>
              <a:rPr lang="en-GB" sz="1100" dirty="0">
                <a:solidFill>
                  <a:schemeClr val="tx1"/>
                </a:solidFill>
              </a:rPr>
              <a:t>Loans with a 36-month term have a higher default rate compared to those with a 60-month term.</a:t>
            </a:r>
            <a:endParaRPr lang="en-US" sz="1100" dirty="0">
              <a:solidFill>
                <a:schemeClr val="tx1"/>
              </a:solidFill>
            </a:endParaRPr>
          </a:p>
        </p:txBody>
      </p:sp>
      <p:sp>
        <p:nvSpPr>
          <p:cNvPr id="13" name="TextBox 12">
            <a:extLst>
              <a:ext uri="{FF2B5EF4-FFF2-40B4-BE49-F238E27FC236}">
                <a16:creationId xmlns:a16="http://schemas.microsoft.com/office/drawing/2014/main" id="{AB225A37-9A3C-3F4D-9543-5C0F3C874910}"/>
              </a:ext>
            </a:extLst>
          </p:cNvPr>
          <p:cNvSpPr txBox="1"/>
          <p:nvPr/>
        </p:nvSpPr>
        <p:spPr>
          <a:xfrm>
            <a:off x="4227679" y="5305598"/>
            <a:ext cx="3209754" cy="780863"/>
          </a:xfrm>
          <a:prstGeom prst="rect">
            <a:avLst/>
          </a:prstGeom>
          <a:solidFill>
            <a:schemeClr val="accent5">
              <a:lumMod val="60000"/>
              <a:lumOff val="40000"/>
            </a:schemeClr>
          </a:solidFill>
        </p:spPr>
        <p:txBody>
          <a:bodyPr wrap="square" rtlCol="0">
            <a:noAutofit/>
          </a:bodyPr>
          <a:lstStyle/>
          <a:p>
            <a:pPr lvl="0">
              <a:defRPr/>
            </a:pPr>
            <a:r>
              <a:rPr lang="en-GB" sz="1100" kern="0" dirty="0">
                <a:solidFill>
                  <a:sysClr val="windowText" lastClr="000000"/>
                </a:solidFill>
                <a:latin typeface="Gill Sans MT" panose="020B0502020104020203" pitchFamily="34" charset="0"/>
              </a:rPr>
              <a:t>Loans with grades B, C, and D have a higher default rate compared to loans with other grades.</a:t>
            </a:r>
            <a:endParaRPr kumimoji="0" lang="en-US" sz="1100" i="0" u="none" strike="noStrike" kern="0" cap="none" spc="0" normalizeH="0" baseline="0" noProof="0" dirty="0">
              <a:ln>
                <a:noFill/>
              </a:ln>
              <a:solidFill>
                <a:sysClr val="windowText" lastClr="000000"/>
              </a:solidFill>
              <a:effectLst/>
              <a:uLnTx/>
              <a:uFillTx/>
              <a:latin typeface="Gill Sans MT" panose="020B0502020104020203" pitchFamily="34" charset="0"/>
            </a:endParaRPr>
          </a:p>
        </p:txBody>
      </p:sp>
      <p:pic>
        <p:nvPicPr>
          <p:cNvPr id="18" name="Picture 2">
            <a:extLst>
              <a:ext uri="{FF2B5EF4-FFF2-40B4-BE49-F238E27FC236}">
                <a16:creationId xmlns:a16="http://schemas.microsoft.com/office/drawing/2014/main" id="{7E139940-4EF1-3ECE-BFEC-E023A63F04A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057034" y="1552288"/>
            <a:ext cx="3418096" cy="3659522"/>
          </a:xfrm>
          <a:prstGeom prst="rect">
            <a:avLst/>
          </a:prstGeom>
          <a:noFill/>
          <a:extLst>
            <a:ext uri="{909E8E84-426E-40DD-AFC4-6F175D3DCCD1}">
              <a14:hiddenFill xmlns:a14="http://schemas.microsoft.com/office/drawing/2010/main">
                <a:solidFill>
                  <a:srgbClr val="FFFFFF"/>
                </a:solidFill>
              </a14:hiddenFill>
            </a:ext>
          </a:extLst>
        </p:spPr>
      </p:pic>
      <p:sp>
        <p:nvSpPr>
          <p:cNvPr id="19" name="TextBox 18">
            <a:extLst>
              <a:ext uri="{FF2B5EF4-FFF2-40B4-BE49-F238E27FC236}">
                <a16:creationId xmlns:a16="http://schemas.microsoft.com/office/drawing/2014/main" id="{5B800CC8-0B65-883C-4AF3-E963D9B6D80E}"/>
              </a:ext>
            </a:extLst>
          </p:cNvPr>
          <p:cNvSpPr txBox="1"/>
          <p:nvPr/>
        </p:nvSpPr>
        <p:spPr>
          <a:xfrm>
            <a:off x="4252067" y="1285043"/>
            <a:ext cx="3185366" cy="302877"/>
          </a:xfrm>
          <a:prstGeom prst="rect">
            <a:avLst/>
          </a:prstGeom>
          <a:solidFill>
            <a:schemeClr val="accent5">
              <a:lumMod val="60000"/>
              <a:lumOff val="40000"/>
            </a:schemeClr>
          </a:solidFill>
        </p:spPr>
        <p:txBody>
          <a:bodyPr wrap="square" rtlCol="0">
            <a:noAutofit/>
          </a:bodyPr>
          <a:lstStyle>
            <a:defPPr>
              <a:defRPr lang="en-US"/>
            </a:defPPr>
            <a:lvl1pPr lvl="0" algn="ctr">
              <a:defRPr sz="1400" kern="0">
                <a:solidFill>
                  <a:schemeClr val="bg1"/>
                </a:solidFill>
                <a:latin typeface="Gill Sans MT" panose="020B0502020104020203" pitchFamily="34" charset="0"/>
              </a:defRPr>
            </a:lvl1pPr>
          </a:lstStyle>
          <a:p>
            <a:r>
              <a:rPr lang="en-GB" sz="1400" kern="0" dirty="0">
                <a:solidFill>
                  <a:schemeClr val="tx1"/>
                </a:solidFill>
                <a:latin typeface="Gill Sans MT" panose="020B0502020104020203" pitchFamily="34" charset="0"/>
              </a:rPr>
              <a:t>Defaulters % by Grade </a:t>
            </a:r>
            <a:endParaRPr kumimoji="0" lang="en-US" sz="1400" b="0" i="0" u="none" strike="noStrike" kern="0" cap="none" spc="0" normalizeH="0" baseline="0" noProof="0" dirty="0">
              <a:ln>
                <a:noFill/>
              </a:ln>
              <a:solidFill>
                <a:schemeClr val="tx1"/>
              </a:solidFill>
              <a:effectLst/>
              <a:uLnTx/>
              <a:uFillTx/>
              <a:latin typeface="Gill Sans MT" panose="020B0502020104020203" pitchFamily="34" charset="0"/>
            </a:endParaRPr>
          </a:p>
          <a:p>
            <a:endParaRPr lang="en-US" dirty="0">
              <a:solidFill>
                <a:schemeClr val="tx1"/>
              </a:solidFill>
            </a:endParaRPr>
          </a:p>
        </p:txBody>
      </p:sp>
      <p:sp>
        <p:nvSpPr>
          <p:cNvPr id="20" name="TextBox 19">
            <a:extLst>
              <a:ext uri="{FF2B5EF4-FFF2-40B4-BE49-F238E27FC236}">
                <a16:creationId xmlns:a16="http://schemas.microsoft.com/office/drawing/2014/main" id="{20B69744-425F-1DCF-C7AF-E57ED24034DD}"/>
              </a:ext>
            </a:extLst>
          </p:cNvPr>
          <p:cNvSpPr txBox="1"/>
          <p:nvPr/>
        </p:nvSpPr>
        <p:spPr>
          <a:xfrm>
            <a:off x="8219476" y="5305598"/>
            <a:ext cx="3209754" cy="780863"/>
          </a:xfrm>
          <a:prstGeom prst="rect">
            <a:avLst/>
          </a:prstGeom>
          <a:solidFill>
            <a:schemeClr val="accent5">
              <a:lumMod val="60000"/>
              <a:lumOff val="40000"/>
            </a:schemeClr>
          </a:solidFill>
        </p:spPr>
        <p:txBody>
          <a:bodyPr wrap="square" rtlCol="0">
            <a:noAutofit/>
          </a:bodyPr>
          <a:lstStyle/>
          <a:p>
            <a:pPr lvl="0">
              <a:defRPr/>
            </a:pPr>
            <a:r>
              <a:rPr lang="en-GB" sz="1100" kern="0" dirty="0">
                <a:solidFill>
                  <a:sysClr val="windowText" lastClr="000000"/>
                </a:solidFill>
                <a:latin typeface="Gill Sans MT" panose="020B0502020104020203" pitchFamily="34" charset="0"/>
              </a:rPr>
              <a:t>The top 5 subgrades with the highest default rates are B5, B3, C1, B4, and C2.</a:t>
            </a:r>
            <a:endParaRPr kumimoji="0" lang="en-US" sz="1100" i="0" u="none" strike="noStrike" kern="0" cap="none" spc="0" normalizeH="0" baseline="0" noProof="0" dirty="0">
              <a:ln>
                <a:noFill/>
              </a:ln>
              <a:solidFill>
                <a:sysClr val="windowText" lastClr="000000"/>
              </a:solidFill>
              <a:effectLst/>
              <a:uLnTx/>
              <a:uFillTx/>
              <a:latin typeface="Gill Sans MT" panose="020B0502020104020203" pitchFamily="34" charset="0"/>
            </a:endParaRPr>
          </a:p>
        </p:txBody>
      </p:sp>
    </p:spTree>
    <p:extLst>
      <p:ext uri="{BB962C8B-B14F-4D97-AF65-F5344CB8AC3E}">
        <p14:creationId xmlns:p14="http://schemas.microsoft.com/office/powerpoint/2010/main" val="186323483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02A347C-06D7-9BEC-B255-98DE25D596C5}"/>
              </a:ext>
            </a:extLst>
          </p:cNvPr>
          <p:cNvGraphicFramePr>
            <a:graphicFrameLocks noChangeAspect="1"/>
          </p:cNvGraphicFramePr>
          <p:nvPr>
            <p:custDataLst>
              <p:tags r:id="rId1"/>
            </p:custDataLst>
            <p:extLst>
              <p:ext uri="{D42A27DB-BD31-4B8C-83A1-F6EECF244321}">
                <p14:modId xmlns:p14="http://schemas.microsoft.com/office/powerpoint/2010/main" val="20593255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702A347C-06D7-9BEC-B255-98DE25D596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26" name="Picture 2">
            <a:extLst>
              <a:ext uri="{FF2B5EF4-FFF2-40B4-BE49-F238E27FC236}">
                <a16:creationId xmlns:a16="http://schemas.microsoft.com/office/drawing/2014/main" id="{6B710347-2C5C-9797-80B8-5118A25B053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3097" y="1498146"/>
            <a:ext cx="3320890" cy="3861707"/>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88639BDF-C902-BC35-16A0-3EF684A8698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008097" y="1498145"/>
            <a:ext cx="3217296" cy="3996181"/>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2A266EC5-3D19-3D5E-76CE-7CEE22C0E3A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677875" y="1516223"/>
            <a:ext cx="3645989" cy="3871847"/>
          </a:xfrm>
          <a:prstGeom prst="rect">
            <a:avLst/>
          </a:prstGeom>
          <a:noFill/>
          <a:extLst>
            <a:ext uri="{909E8E84-426E-40DD-AFC4-6F175D3DCCD1}">
              <a14:hiddenFill xmlns:a14="http://schemas.microsoft.com/office/drawing/2010/main">
                <a:solidFill>
                  <a:srgbClr val="FFFFFF"/>
                </a:solidFill>
              </a14:hiddenFill>
            </a:ext>
          </a:extLst>
        </p:spPr>
      </p:pic>
      <p:sp>
        <p:nvSpPr>
          <p:cNvPr id="3" name="Title 1">
            <a:extLst>
              <a:ext uri="{FF2B5EF4-FFF2-40B4-BE49-F238E27FC236}">
                <a16:creationId xmlns:a16="http://schemas.microsoft.com/office/drawing/2014/main" id="{F6BAA956-D557-40E1-D7C8-08FA7FF3AB4F}"/>
              </a:ext>
            </a:extLst>
          </p:cNvPr>
          <p:cNvSpPr>
            <a:spLocks noGrp="1"/>
          </p:cNvSpPr>
          <p:nvPr>
            <p:ph type="title"/>
          </p:nvPr>
        </p:nvSpPr>
        <p:spPr>
          <a:xfrm>
            <a:off x="58511" y="105018"/>
            <a:ext cx="8037090" cy="692287"/>
          </a:xfrm>
        </p:spPr>
        <p:txBody>
          <a:bodyPr vert="horz">
            <a:normAutofit fontScale="90000"/>
          </a:bodyPr>
          <a:lstStyle/>
          <a:p>
            <a:r>
              <a:rPr lang="en-IN" dirty="0">
                <a:latin typeface="Gill Sans MT" panose="020B0502020104020203" pitchFamily="34" charset="0"/>
              </a:rPr>
              <a:t>Exploratory Analysis – Key Findings</a:t>
            </a:r>
            <a:endParaRPr lang="en-US" dirty="0"/>
          </a:p>
        </p:txBody>
      </p:sp>
      <p:sp>
        <p:nvSpPr>
          <p:cNvPr id="6" name="TextBox 5">
            <a:extLst>
              <a:ext uri="{FF2B5EF4-FFF2-40B4-BE49-F238E27FC236}">
                <a16:creationId xmlns:a16="http://schemas.microsoft.com/office/drawing/2014/main" id="{B6EA46DC-4D80-7A56-CF9B-9871F1B4AF6D}"/>
              </a:ext>
            </a:extLst>
          </p:cNvPr>
          <p:cNvSpPr txBox="1"/>
          <p:nvPr/>
        </p:nvSpPr>
        <p:spPr>
          <a:xfrm>
            <a:off x="460265" y="1213346"/>
            <a:ext cx="2985371" cy="302877"/>
          </a:xfrm>
          <a:prstGeom prst="rect">
            <a:avLst/>
          </a:prstGeom>
          <a:solidFill>
            <a:schemeClr val="accent5">
              <a:lumMod val="60000"/>
              <a:lumOff val="40000"/>
            </a:schemeClr>
          </a:solidFill>
        </p:spPr>
        <p:txBody>
          <a:bodyPr wrap="square" rtlCol="0">
            <a:noAutofit/>
          </a:bodyPr>
          <a:lstStyle/>
          <a:p>
            <a:pPr lvl="0" algn="ctr">
              <a:defRPr/>
            </a:pPr>
            <a:r>
              <a:rPr lang="en-GB" sz="1400" kern="0" dirty="0">
                <a:latin typeface="Gill Sans MT" panose="020B0502020104020203" pitchFamily="34" charset="0"/>
              </a:rPr>
              <a:t>Defaulters % by Home ownership </a:t>
            </a:r>
            <a:endParaRPr kumimoji="0" lang="en-US" sz="1400" b="0" i="0" u="none" strike="noStrike" kern="0" cap="none" spc="0" normalizeH="0" baseline="0" noProof="0" dirty="0">
              <a:ln>
                <a:noFill/>
              </a:ln>
              <a:effectLst/>
              <a:uLnTx/>
              <a:uFillTx/>
              <a:latin typeface="Gill Sans MT" panose="020B0502020104020203" pitchFamily="34" charset="0"/>
            </a:endParaRPr>
          </a:p>
        </p:txBody>
      </p:sp>
      <p:sp>
        <p:nvSpPr>
          <p:cNvPr id="7" name="TextBox 6">
            <a:extLst>
              <a:ext uri="{FF2B5EF4-FFF2-40B4-BE49-F238E27FC236}">
                <a16:creationId xmlns:a16="http://schemas.microsoft.com/office/drawing/2014/main" id="{4D08066E-A464-1B00-755A-D5C5AAA805B9}"/>
              </a:ext>
            </a:extLst>
          </p:cNvPr>
          <p:cNvSpPr txBox="1"/>
          <p:nvPr/>
        </p:nvSpPr>
        <p:spPr>
          <a:xfrm>
            <a:off x="7990760" y="1212235"/>
            <a:ext cx="3275206" cy="302877"/>
          </a:xfrm>
          <a:prstGeom prst="rect">
            <a:avLst/>
          </a:prstGeom>
          <a:solidFill>
            <a:schemeClr val="accent5">
              <a:lumMod val="60000"/>
              <a:lumOff val="40000"/>
            </a:schemeClr>
          </a:solidFill>
        </p:spPr>
        <p:txBody>
          <a:bodyPr wrap="square" rtlCol="0">
            <a:noAutofit/>
          </a:bodyPr>
          <a:lstStyle>
            <a:defPPr>
              <a:defRPr lang="en-US"/>
            </a:defPPr>
            <a:lvl1pPr lvl="0" algn="ctr">
              <a:defRPr sz="1400" kern="0">
                <a:solidFill>
                  <a:schemeClr val="bg1"/>
                </a:solidFill>
                <a:latin typeface="Gill Sans MT" panose="020B0502020104020203" pitchFamily="34" charset="0"/>
              </a:defRPr>
            </a:lvl1pPr>
          </a:lstStyle>
          <a:p>
            <a:r>
              <a:rPr lang="en-GB" sz="1400" kern="0" dirty="0">
                <a:solidFill>
                  <a:schemeClr val="tx1"/>
                </a:solidFill>
                <a:latin typeface="Gill Sans MT" panose="020B0502020104020203" pitchFamily="34" charset="0"/>
              </a:rPr>
              <a:t>Defaulters % by state</a:t>
            </a:r>
            <a:endParaRPr kumimoji="0" lang="en-US" sz="1400" b="0" i="0" u="none" strike="noStrike" kern="0" cap="none" spc="0" normalizeH="0" baseline="0" noProof="0" dirty="0">
              <a:ln>
                <a:noFill/>
              </a:ln>
              <a:solidFill>
                <a:schemeClr val="tx1"/>
              </a:solidFill>
              <a:effectLst/>
              <a:uLnTx/>
              <a:uFillTx/>
              <a:latin typeface="Gill Sans MT" panose="020B0502020104020203" pitchFamily="34" charset="0"/>
            </a:endParaRPr>
          </a:p>
          <a:p>
            <a:endParaRPr lang="en-US" dirty="0">
              <a:solidFill>
                <a:schemeClr val="tx1"/>
              </a:solidFill>
            </a:endParaRPr>
          </a:p>
        </p:txBody>
      </p:sp>
      <p:sp>
        <p:nvSpPr>
          <p:cNvPr id="8" name="TextBox 7">
            <a:extLst>
              <a:ext uri="{FF2B5EF4-FFF2-40B4-BE49-F238E27FC236}">
                <a16:creationId xmlns:a16="http://schemas.microsoft.com/office/drawing/2014/main" id="{2DA5B442-9CD9-7ECE-D179-981DB9794E61}"/>
              </a:ext>
            </a:extLst>
          </p:cNvPr>
          <p:cNvSpPr txBox="1"/>
          <p:nvPr/>
        </p:nvSpPr>
        <p:spPr>
          <a:xfrm>
            <a:off x="431514" y="5494326"/>
            <a:ext cx="3014122" cy="780863"/>
          </a:xfrm>
          <a:prstGeom prst="rect">
            <a:avLst/>
          </a:prstGeom>
          <a:solidFill>
            <a:schemeClr val="accent5">
              <a:lumMod val="60000"/>
              <a:lumOff val="40000"/>
            </a:schemeClr>
          </a:solidFill>
        </p:spPr>
        <p:txBody>
          <a:bodyPr wrap="square" rtlCol="0">
            <a:noAutofit/>
          </a:bodyPr>
          <a:lstStyle>
            <a:defPPr>
              <a:defRPr lang="en-US"/>
            </a:defPPr>
            <a:lvl1pPr lvl="0" algn="ctr">
              <a:defRPr sz="1400" kern="0">
                <a:solidFill>
                  <a:schemeClr val="bg1"/>
                </a:solidFill>
                <a:latin typeface="Gill Sans MT" panose="020B0502020104020203" pitchFamily="34" charset="0"/>
              </a:defRPr>
            </a:lvl1pPr>
          </a:lstStyle>
          <a:p>
            <a:r>
              <a:rPr lang="en-GB" sz="1100" dirty="0">
                <a:solidFill>
                  <a:schemeClr val="tx1"/>
                </a:solidFill>
              </a:rPr>
              <a:t>Borrowers who own their homes have a lower default rate compared to those who do not own a home.</a:t>
            </a:r>
            <a:endParaRPr lang="en-US" sz="1100" dirty="0">
              <a:solidFill>
                <a:schemeClr val="tx1"/>
              </a:solidFill>
            </a:endParaRPr>
          </a:p>
        </p:txBody>
      </p:sp>
      <p:sp>
        <p:nvSpPr>
          <p:cNvPr id="9" name="TextBox 8">
            <a:extLst>
              <a:ext uri="{FF2B5EF4-FFF2-40B4-BE49-F238E27FC236}">
                <a16:creationId xmlns:a16="http://schemas.microsoft.com/office/drawing/2014/main" id="{82871FA5-B7BC-678A-D11C-53483BF4281C}"/>
              </a:ext>
            </a:extLst>
          </p:cNvPr>
          <p:cNvSpPr txBox="1"/>
          <p:nvPr/>
        </p:nvSpPr>
        <p:spPr>
          <a:xfrm>
            <a:off x="4146047" y="5494326"/>
            <a:ext cx="3209754" cy="780863"/>
          </a:xfrm>
          <a:prstGeom prst="rect">
            <a:avLst/>
          </a:prstGeom>
          <a:solidFill>
            <a:schemeClr val="accent5">
              <a:lumMod val="60000"/>
              <a:lumOff val="40000"/>
            </a:schemeClr>
          </a:solidFill>
        </p:spPr>
        <p:txBody>
          <a:bodyPr wrap="square" rtlCol="0">
            <a:noAutofit/>
          </a:bodyPr>
          <a:lstStyle/>
          <a:p>
            <a:pPr lvl="0">
              <a:defRPr/>
            </a:pPr>
            <a:r>
              <a:rPr lang="en-GB" sz="1100" kern="0" dirty="0">
                <a:solidFill>
                  <a:sysClr val="windowText" lastClr="000000"/>
                </a:solidFill>
                <a:latin typeface="Gill Sans MT" panose="020B0502020104020203" pitchFamily="34" charset="0"/>
              </a:rPr>
              <a:t>Loans taken for the purpose of debt consolidation have the highest default rate.</a:t>
            </a:r>
            <a:endParaRPr kumimoji="0" lang="en-US" sz="1100" i="0" u="none" strike="noStrike" kern="0" cap="none" spc="0" normalizeH="0" baseline="0" noProof="0" dirty="0">
              <a:ln>
                <a:noFill/>
              </a:ln>
              <a:solidFill>
                <a:sysClr val="windowText" lastClr="000000"/>
              </a:solidFill>
              <a:effectLst/>
              <a:uLnTx/>
              <a:uFillTx/>
              <a:latin typeface="Gill Sans MT" panose="020B0502020104020203" pitchFamily="34" charset="0"/>
            </a:endParaRPr>
          </a:p>
        </p:txBody>
      </p:sp>
      <p:sp>
        <p:nvSpPr>
          <p:cNvPr id="10" name="TextBox 9">
            <a:extLst>
              <a:ext uri="{FF2B5EF4-FFF2-40B4-BE49-F238E27FC236}">
                <a16:creationId xmlns:a16="http://schemas.microsoft.com/office/drawing/2014/main" id="{F7642B77-0182-0A97-6C92-8FBF4FB4C48E}"/>
              </a:ext>
            </a:extLst>
          </p:cNvPr>
          <p:cNvSpPr txBox="1"/>
          <p:nvPr/>
        </p:nvSpPr>
        <p:spPr>
          <a:xfrm>
            <a:off x="4146047" y="1212235"/>
            <a:ext cx="3079346" cy="302877"/>
          </a:xfrm>
          <a:prstGeom prst="rect">
            <a:avLst/>
          </a:prstGeom>
          <a:solidFill>
            <a:schemeClr val="accent5">
              <a:lumMod val="60000"/>
              <a:lumOff val="40000"/>
            </a:schemeClr>
          </a:solidFill>
        </p:spPr>
        <p:txBody>
          <a:bodyPr wrap="square" rtlCol="0">
            <a:noAutofit/>
          </a:bodyPr>
          <a:lstStyle>
            <a:defPPr>
              <a:defRPr lang="en-US"/>
            </a:defPPr>
            <a:lvl1pPr lvl="0" algn="ctr">
              <a:defRPr sz="1400" kern="0">
                <a:solidFill>
                  <a:schemeClr val="bg1"/>
                </a:solidFill>
                <a:latin typeface="Gill Sans MT" panose="020B0502020104020203" pitchFamily="34" charset="0"/>
              </a:defRPr>
            </a:lvl1pPr>
          </a:lstStyle>
          <a:p>
            <a:r>
              <a:rPr lang="en-GB" sz="1400" kern="0" dirty="0">
                <a:solidFill>
                  <a:schemeClr val="tx1"/>
                </a:solidFill>
                <a:latin typeface="Gill Sans MT" panose="020B0502020104020203" pitchFamily="34" charset="0"/>
              </a:rPr>
              <a:t>Defaulters % by purpose </a:t>
            </a:r>
            <a:endParaRPr kumimoji="0" lang="en-US" sz="1400" b="0" i="0" u="none" strike="noStrike" kern="0" cap="none" spc="0" normalizeH="0" baseline="0" noProof="0" dirty="0">
              <a:ln>
                <a:noFill/>
              </a:ln>
              <a:solidFill>
                <a:schemeClr val="tx1"/>
              </a:solidFill>
              <a:effectLst/>
              <a:uLnTx/>
              <a:uFillTx/>
              <a:latin typeface="Gill Sans MT" panose="020B0502020104020203" pitchFamily="34" charset="0"/>
            </a:endParaRPr>
          </a:p>
          <a:p>
            <a:endParaRPr lang="en-US" dirty="0">
              <a:solidFill>
                <a:schemeClr val="tx1"/>
              </a:solidFill>
            </a:endParaRPr>
          </a:p>
        </p:txBody>
      </p:sp>
      <p:sp>
        <p:nvSpPr>
          <p:cNvPr id="11" name="TextBox 10">
            <a:extLst>
              <a:ext uri="{FF2B5EF4-FFF2-40B4-BE49-F238E27FC236}">
                <a16:creationId xmlns:a16="http://schemas.microsoft.com/office/drawing/2014/main" id="{AA460DD8-3BD4-F095-9631-BA1D4D65E8F5}"/>
              </a:ext>
            </a:extLst>
          </p:cNvPr>
          <p:cNvSpPr txBox="1"/>
          <p:nvPr/>
        </p:nvSpPr>
        <p:spPr>
          <a:xfrm>
            <a:off x="8056212" y="5494325"/>
            <a:ext cx="3209754" cy="780863"/>
          </a:xfrm>
          <a:prstGeom prst="rect">
            <a:avLst/>
          </a:prstGeom>
          <a:solidFill>
            <a:schemeClr val="accent5">
              <a:lumMod val="60000"/>
              <a:lumOff val="40000"/>
            </a:schemeClr>
          </a:solidFill>
        </p:spPr>
        <p:txBody>
          <a:bodyPr wrap="square" rtlCol="0">
            <a:noAutofit/>
          </a:bodyPr>
          <a:lstStyle/>
          <a:p>
            <a:pPr lvl="0">
              <a:defRPr/>
            </a:pPr>
            <a:r>
              <a:rPr lang="en-GB" sz="1100" kern="0" dirty="0">
                <a:solidFill>
                  <a:sysClr val="windowText" lastClr="000000"/>
                </a:solidFill>
                <a:latin typeface="Gill Sans MT" panose="020B0502020104020203" pitchFamily="34" charset="0"/>
              </a:rPr>
              <a:t>The state CA has the highest number of defaulters among all states.</a:t>
            </a:r>
            <a:endParaRPr kumimoji="0" lang="en-US" sz="1100" i="0" u="none" strike="noStrike" kern="0" cap="none" spc="0" normalizeH="0" baseline="0" noProof="0" dirty="0">
              <a:ln>
                <a:noFill/>
              </a:ln>
              <a:solidFill>
                <a:sysClr val="windowText" lastClr="000000"/>
              </a:solidFill>
              <a:effectLst/>
              <a:uLnTx/>
              <a:uFillTx/>
              <a:latin typeface="Gill Sans MT" panose="020B0502020104020203" pitchFamily="34" charset="0"/>
            </a:endParaRPr>
          </a:p>
        </p:txBody>
      </p:sp>
    </p:spTree>
    <p:extLst>
      <p:ext uri="{BB962C8B-B14F-4D97-AF65-F5344CB8AC3E}">
        <p14:creationId xmlns:p14="http://schemas.microsoft.com/office/powerpoint/2010/main" val="16781413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11.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12.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13.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14.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15.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16.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17.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18.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19.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POWER_USER_TAGS_ICONS" val="main-office"/>
</p:tagLst>
</file>

<file path=ppt/tags/tag21.xml><?xml version="1.0" encoding="utf-8"?>
<p:tagLst xmlns:a="http://schemas.openxmlformats.org/drawingml/2006/main" xmlns:r="http://schemas.openxmlformats.org/officeDocument/2006/relationships" xmlns:p="http://schemas.openxmlformats.org/presentationml/2006/main">
  <p:tag name="POWER_USER_TAGS_ICONS" val="main-office"/>
</p:tagLst>
</file>

<file path=ppt/tags/tag22.xml><?xml version="1.0" encoding="utf-8"?>
<p:tagLst xmlns:a="http://schemas.openxmlformats.org/drawingml/2006/main" xmlns:r="http://schemas.openxmlformats.org/officeDocument/2006/relationships" xmlns:p="http://schemas.openxmlformats.org/presentationml/2006/main">
  <p:tag name="POWER_USER_TAGS_ICONS" val="main-office"/>
</p:tagLst>
</file>

<file path=ppt/tags/tag23.xml><?xml version="1.0" encoding="utf-8"?>
<p:tagLst xmlns:a="http://schemas.openxmlformats.org/drawingml/2006/main" xmlns:r="http://schemas.openxmlformats.org/officeDocument/2006/relationships" xmlns:p="http://schemas.openxmlformats.org/presentationml/2006/main">
  <p:tag name="POWER_USER_TAGS_ICONS" val="government_POWER_USER_SEPARATOR_ICONS_bank_POWER_USER_SEPARATOR_ICONS_building_POWER_USER_SEPARATOR_ICONS_pillars_POWER_USER_SEPARATOR_ICONS_politics"/>
</p:tagLst>
</file>

<file path=ppt/tags/tag24.xml><?xml version="1.0" encoding="utf-8"?>
<p:tagLst xmlns:a="http://schemas.openxmlformats.org/drawingml/2006/main" xmlns:r="http://schemas.openxmlformats.org/officeDocument/2006/relationships" xmlns:p="http://schemas.openxmlformats.org/presentationml/2006/main">
  <p:tag name="POWER_USER_TAGS_ICONS" val="government_POWER_USER_SEPARATOR_ICONS_bank_POWER_USER_SEPARATOR_ICONS_building_POWER_USER_SEPARATOR_ICONS_pillars_POWER_USER_SEPARATOR_ICONS_politics"/>
</p:tagLst>
</file>

<file path=ppt/tags/tag25.xml><?xml version="1.0" encoding="utf-8"?>
<p:tagLst xmlns:a="http://schemas.openxmlformats.org/drawingml/2006/main" xmlns:r="http://schemas.openxmlformats.org/officeDocument/2006/relationships" xmlns:p="http://schemas.openxmlformats.org/presentationml/2006/main">
  <p:tag name="POWER_USER_ID_TEMPLATES" val="Puzzle_pieces_4"/>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POWER_USER_TAGS_ICONS" val="man*people*face"/>
</p:tagLst>
</file>

<file path=ppt/tags/tag28.xml><?xml version="1.0" encoding="utf-8"?>
<p:tagLst xmlns:a="http://schemas.openxmlformats.org/drawingml/2006/main" xmlns:r="http://schemas.openxmlformats.org/officeDocument/2006/relationships" xmlns:p="http://schemas.openxmlformats.org/presentationml/2006/main">
  <p:tag name="POWER_USER_TAGS_ICONS" val="man*people*face"/>
</p:tagLst>
</file>

<file path=ppt/tags/tag29.xml><?xml version="1.0" encoding="utf-8"?>
<p:tagLst xmlns:a="http://schemas.openxmlformats.org/drawingml/2006/main" xmlns:r="http://schemas.openxmlformats.org/officeDocument/2006/relationships" xmlns:p="http://schemas.openxmlformats.org/presentationml/2006/main">
  <p:tag name="POWER_USER_TAGS_ICONS" val="man*people*face"/>
</p:tagLst>
</file>

<file path=ppt/tags/tag3.xml><?xml version="1.0" encoding="utf-8"?>
<p:tagLst xmlns:a="http://schemas.openxmlformats.org/drawingml/2006/main" xmlns:r="http://schemas.openxmlformats.org/officeDocument/2006/relationships" xmlns:p="http://schemas.openxmlformats.org/presentationml/2006/main">
  <p:tag name="POWER_USER_ID_TEMPLATES" val="Animations_1"/>
</p:tagLst>
</file>

<file path=ppt/tags/tag30.xml><?xml version="1.0" encoding="utf-8"?>
<p:tagLst xmlns:a="http://schemas.openxmlformats.org/drawingml/2006/main" xmlns:r="http://schemas.openxmlformats.org/officeDocument/2006/relationships" xmlns:p="http://schemas.openxmlformats.org/presentationml/2006/main">
  <p:tag name="POWER_USER_TAGS_ICONS" val="man*people*face"/>
</p:tagLst>
</file>

<file path=ppt/tags/tag31.xml><?xml version="1.0" encoding="utf-8"?>
<p:tagLst xmlns:a="http://schemas.openxmlformats.org/drawingml/2006/main" xmlns:r="http://schemas.openxmlformats.org/officeDocument/2006/relationships" xmlns:p="http://schemas.openxmlformats.org/presentationml/2006/main">
  <p:tag name="POWER_USER_ID_TEMPLATES" val="Computer_with_chart"/>
</p:tagLst>
</file>

<file path=ppt/tags/tag32.xml><?xml version="1.0" encoding="utf-8"?>
<p:tagLst xmlns:a="http://schemas.openxmlformats.org/drawingml/2006/main" xmlns:r="http://schemas.openxmlformats.org/officeDocument/2006/relationships" xmlns:p="http://schemas.openxmlformats.org/presentationml/2006/main">
  <p:tag name="POWER_USER_ID_TEMPLATES" val="Gears_2"/>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POWER_USER_ID_TEMPLATES" val="Split_slide_1"/>
</p:tagLst>
</file>

<file path=ppt/tags/tag6.xml><?xml version="1.0" encoding="utf-8"?>
<p:tagLst xmlns:a="http://schemas.openxmlformats.org/drawingml/2006/main" xmlns:r="http://schemas.openxmlformats.org/officeDocument/2006/relationships" xmlns:p="http://schemas.openxmlformats.org/presentationml/2006/main">
  <p:tag name="POWER_USER_TAGS_ICONS" val="government_POWER_USER_SEPARATOR_ICONS_bank_POWER_USER_SEPARATOR_ICONS_building_POWER_USER_SEPARATOR_ICONS_pillars_POWER_USER_SEPARATOR_ICONS_politics"/>
</p:tagLst>
</file>

<file path=ppt/tags/tag7.xml><?xml version="1.0" encoding="utf-8"?>
<p:tagLst xmlns:a="http://schemas.openxmlformats.org/drawingml/2006/main" xmlns:r="http://schemas.openxmlformats.org/officeDocument/2006/relationships" xmlns:p="http://schemas.openxmlformats.org/presentationml/2006/main">
  <p:tag name="POWER_USER_TAGS_ICONS" val="main-office"/>
</p:tagLst>
</file>

<file path=ppt/tags/tag8.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9.xml><?xml version="1.0" encoding="utf-8"?>
<p:tagLst xmlns:a="http://schemas.openxmlformats.org/drawingml/2006/main" xmlns:r="http://schemas.openxmlformats.org/officeDocument/2006/relationships" xmlns:p="http://schemas.openxmlformats.org/presentationml/2006/main">
  <p:tag name="POWER_USER_TAGS_ICONS" val="target_POWER_USER_SEPARATOR_ICONS_archery_POWER_USER_SEPARATOR_ICONS_on-target_POWER_USER_SEPARATOR_ICONS_relevant_POWER_USER_SEPARATOR_ICONS_target-shootin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635</TotalTime>
  <Words>866</Words>
  <Application>Microsoft Office PowerPoint</Application>
  <PresentationFormat>Widescreen</PresentationFormat>
  <Paragraphs>87</Paragraphs>
  <Slides>14</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0" baseType="lpstr">
      <vt:lpstr>Arial</vt:lpstr>
      <vt:lpstr>Calibri</vt:lpstr>
      <vt:lpstr>Calibri Light</vt:lpstr>
      <vt:lpstr>Gill Sans MT</vt:lpstr>
      <vt:lpstr>Office Theme</vt:lpstr>
      <vt:lpstr>think-cell Slide</vt:lpstr>
      <vt:lpstr>Lending Club Case Study</vt:lpstr>
      <vt:lpstr>Presentation Outline</vt:lpstr>
      <vt:lpstr>PowerPoint Presentation</vt:lpstr>
      <vt:lpstr>Abstract &amp; Problems</vt:lpstr>
      <vt:lpstr>Business Objectives</vt:lpstr>
      <vt:lpstr>Data Source</vt:lpstr>
      <vt:lpstr>Methodology</vt:lpstr>
      <vt:lpstr>Exploratory Analysis – Key Findings</vt:lpstr>
      <vt:lpstr>Exploratory Analysis – Key Findings</vt:lpstr>
      <vt:lpstr>Exploratory Analysis – Key Findings</vt:lpstr>
      <vt:lpstr>Exploratory Analysis – Key Findings</vt:lpstr>
      <vt:lpstr>PowerPoint Presentation</vt:lpstr>
      <vt:lpstr>Conclus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reelesh PS</dc:creator>
  <cp:lastModifiedBy>Sreelesh Sreenivasan</cp:lastModifiedBy>
  <cp:revision>243</cp:revision>
  <dcterms:created xsi:type="dcterms:W3CDTF">2017-12-26T02:52:47Z</dcterms:created>
  <dcterms:modified xsi:type="dcterms:W3CDTF">2023-10-11T08:02:12Z</dcterms:modified>
</cp:coreProperties>
</file>